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0" r:id="rId2"/>
  </p:sldMasterIdLst>
  <p:notesMasterIdLst>
    <p:notesMasterId r:id="rId16"/>
  </p:notesMasterIdLst>
  <p:sldIdLst>
    <p:sldId id="256" r:id="rId3"/>
    <p:sldId id="274" r:id="rId4"/>
    <p:sldId id="269" r:id="rId5"/>
    <p:sldId id="258" r:id="rId6"/>
    <p:sldId id="275" r:id="rId7"/>
    <p:sldId id="276" r:id="rId8"/>
    <p:sldId id="277" r:id="rId9"/>
    <p:sldId id="278" r:id="rId10"/>
    <p:sldId id="270" r:id="rId11"/>
    <p:sldId id="279" r:id="rId12"/>
    <p:sldId id="280" r:id="rId13"/>
    <p:sldId id="281" r:id="rId14"/>
    <p:sldId id="261" r:id="rId15"/>
  </p:sldIdLst>
  <p:sldSz cx="12192000" cy="6858000"/>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450B"/>
    <a:srgbClr val="F49F00"/>
    <a:srgbClr val="FFB50B"/>
    <a:srgbClr val="CE6900"/>
    <a:srgbClr val="EA9600"/>
    <a:srgbClr val="A20000"/>
    <a:srgbClr val="A40000"/>
    <a:srgbClr val="9E0000"/>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82" autoAdjust="0"/>
  </p:normalViewPr>
  <p:slideViewPr>
    <p:cSldViewPr snapToGrid="0">
      <p:cViewPr varScale="1">
        <p:scale>
          <a:sx n="114" d="100"/>
          <a:sy n="114" d="100"/>
        </p:scale>
        <p:origin x="414" y="90"/>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EDF33427-A729-487E-944F-F670922B0C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734550" cy="6858000"/>
          </a:xfrm>
          <a:prstGeom prst="rect">
            <a:avLst/>
          </a:prstGeom>
        </p:spPr>
      </p:pic>
      <p:sp>
        <p:nvSpPr>
          <p:cNvPr id="9801" name="副标题 2"/>
          <p:cNvSpPr>
            <a:spLocks noGrp="1"/>
          </p:cNvSpPr>
          <p:nvPr userDrawn="1">
            <p:ph type="subTitle" idx="1"/>
          </p:nvPr>
        </p:nvSpPr>
        <p:spPr>
          <a:xfrm>
            <a:off x="685006" y="1828891"/>
            <a:ext cx="10821988"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85006" y="1130300"/>
            <a:ext cx="10821988" cy="698591"/>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85006" y="5544733"/>
            <a:ext cx="10845800"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85006" y="5841004"/>
            <a:ext cx="10845800"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3817BACB-9387-4885-8B66-8D912C18727B}" type="datetime4">
              <a:rPr lang="en-US" smtClean="0"/>
              <a:t>December 3, 2019</a:t>
            </a:fld>
            <a:endParaRPr lang="en-US"/>
          </a:p>
        </p:txBody>
      </p:sp>
      <p:sp>
        <p:nvSpPr>
          <p:cNvPr id="5" name="Footer Placeholder 4"/>
          <p:cNvSpPr>
            <a:spLocks noGrp="1"/>
          </p:cNvSpPr>
          <p:nvPr>
            <p:ph type="ftr" sz="quarter" idx="11"/>
          </p:nvPr>
        </p:nvSpPr>
        <p:spPr/>
        <p:txBody>
          <a:bodyPr/>
          <a:lstStyle/>
          <a:p>
            <a:r>
              <a:rPr lang="en-US"/>
              <a:t>Micron Confidential</a:t>
            </a:r>
          </a:p>
        </p:txBody>
      </p:sp>
      <p:sp>
        <p:nvSpPr>
          <p:cNvPr id="6" name="Slide Number Placeholder 5"/>
          <p:cNvSpPr>
            <a:spLocks noGrp="1"/>
          </p:cNvSpPr>
          <p:nvPr>
            <p:ph type="sldNum" sz="quarter" idx="12"/>
          </p:nvPr>
        </p:nvSpPr>
        <p:spPr/>
        <p:txBody>
          <a:bodyPr/>
          <a:lstStyle/>
          <a:p>
            <a:fld id="{B7E7695C-FCF1-4AA0-9B93-7941FED13DC4}" type="slidenum">
              <a:rPr lang="en-US" smtClean="0"/>
              <a:t>‹#›</a:t>
            </a:fld>
            <a:endParaRPr lang="en-US"/>
          </a:p>
        </p:txBody>
      </p:sp>
      <p:sp>
        <p:nvSpPr>
          <p:cNvPr id="7" name="Text Placeholder 8"/>
          <p:cNvSpPr>
            <a:spLocks noGrp="1"/>
          </p:cNvSpPr>
          <p:nvPr>
            <p:ph type="body" sz="quarter" idx="13"/>
          </p:nvPr>
        </p:nvSpPr>
        <p:spPr>
          <a:xfrm>
            <a:off x="838200" y="850504"/>
            <a:ext cx="10515600" cy="361950"/>
          </a:xfrm>
          <a:noFill/>
        </p:spPr>
        <p:txBody>
          <a:bodyPr anchor="ctr">
            <a:noAutofit/>
          </a:bodyPr>
          <a:lstStyle>
            <a:lvl1pPr marL="0" indent="0" algn="l">
              <a:buNone/>
              <a:defRPr sz="2000">
                <a:solidFill>
                  <a:srgbClr val="58595B"/>
                </a:solidFill>
              </a:defRPr>
            </a:lvl1pPr>
          </a:lstStyle>
          <a:p>
            <a:pPr lvl="0"/>
            <a:r>
              <a:rPr lang="en-US"/>
              <a:t>Edit Master text styles</a:t>
            </a:r>
          </a:p>
        </p:txBody>
      </p:sp>
      <p:sp>
        <p:nvSpPr>
          <p:cNvPr id="9" name="Content Placeholder 2"/>
          <p:cNvSpPr>
            <a:spLocks noGrp="1"/>
          </p:cNvSpPr>
          <p:nvPr>
            <p:ph sz="half" idx="1"/>
          </p:nvPr>
        </p:nvSpPr>
        <p:spPr>
          <a:xfrm>
            <a:off x="838200" y="1628775"/>
            <a:ext cx="10515600" cy="4548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3830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Transition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noAutofit/>
          </a:bodyPr>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0" y="4503202"/>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4410" y="6470556"/>
            <a:ext cx="914400" cy="248898"/>
          </a:xfrm>
          <a:prstGeom prst="rect">
            <a:avLst/>
          </a:prstGeom>
        </p:spPr>
      </p:pic>
      <p:sp>
        <p:nvSpPr>
          <p:cNvPr id="4" name="Date Placeholder 3"/>
          <p:cNvSpPr>
            <a:spLocks noGrp="1"/>
          </p:cNvSpPr>
          <p:nvPr>
            <p:ph type="dt" sz="half" idx="10"/>
          </p:nvPr>
        </p:nvSpPr>
        <p:spPr/>
        <p:txBody>
          <a:bodyPr/>
          <a:lstStyle>
            <a:lvl1pPr>
              <a:defRPr>
                <a:solidFill>
                  <a:schemeClr val="bg1"/>
                </a:solidFill>
              </a:defRPr>
            </a:lvl1pPr>
          </a:lstStyle>
          <a:p>
            <a:fld id="{FBD81F6B-C008-4C66-BD61-4BBE687FC954}" type="datetime4">
              <a:rPr lang="en-US" smtClean="0"/>
              <a:pPr/>
              <a:t>December 3, 2019</a:t>
            </a:fld>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Micron Confidential</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3889358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ansition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noAutofit/>
          </a:bodyPr>
          <a:lstStyle>
            <a:lvl1pPr>
              <a:defRPr sz="6000">
                <a:solidFill>
                  <a:srgbClr val="0077C8"/>
                </a:solidFill>
              </a:defRPr>
            </a:lvl1pPr>
          </a:lstStyle>
          <a:p>
            <a:r>
              <a:rPr lang="en-US"/>
              <a:t>Click to edit Master title style</a:t>
            </a:r>
            <a:endParaRPr lang="en-US" dirty="0"/>
          </a:p>
        </p:txBody>
      </p:sp>
      <p:sp>
        <p:nvSpPr>
          <p:cNvPr id="4" name="Text Placeholder 2"/>
          <p:cNvSpPr>
            <a:spLocks noGrp="1"/>
          </p:cNvSpPr>
          <p:nvPr>
            <p:ph type="body" idx="1"/>
          </p:nvPr>
        </p:nvSpPr>
        <p:spPr>
          <a:xfrm>
            <a:off x="831850" y="4503202"/>
            <a:ext cx="10515600" cy="1500187"/>
          </a:xfrm>
        </p:spPr>
        <p:txBody>
          <a:bodyPr/>
          <a:lstStyle>
            <a:lvl1pPr marL="0" indent="0">
              <a:buNone/>
              <a:defRPr sz="2400">
                <a:solidFill>
                  <a:srgbClr val="58595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Date Placeholder 2"/>
          <p:cNvSpPr>
            <a:spLocks noGrp="1"/>
          </p:cNvSpPr>
          <p:nvPr>
            <p:ph type="dt" sz="half" idx="10"/>
          </p:nvPr>
        </p:nvSpPr>
        <p:spPr/>
        <p:txBody>
          <a:bodyPr/>
          <a:lstStyle/>
          <a:p>
            <a:fld id="{FBD81F6B-C008-4C66-BD61-4BBE687FC954}" type="datetime4">
              <a:rPr lang="en-US" smtClean="0"/>
              <a:t>December 3, 2019</a:t>
            </a:fld>
            <a:endParaRPr lang="en-US" dirty="0"/>
          </a:p>
        </p:txBody>
      </p:sp>
      <p:sp>
        <p:nvSpPr>
          <p:cNvPr id="5" name="Footer Placeholder 4"/>
          <p:cNvSpPr>
            <a:spLocks noGrp="1"/>
          </p:cNvSpPr>
          <p:nvPr>
            <p:ph type="ftr" sz="quarter" idx="11"/>
          </p:nvPr>
        </p:nvSpPr>
        <p:spPr/>
        <p:txBody>
          <a:bodyPr/>
          <a:lstStyle/>
          <a:p>
            <a:r>
              <a:rPr lang="en-US"/>
              <a:t>Micron Confidential</a:t>
            </a:r>
            <a:endParaRPr lang="en-US" dirty="0"/>
          </a:p>
        </p:txBody>
      </p:sp>
      <p:sp>
        <p:nvSpPr>
          <p:cNvPr id="6" name="Slide Number Placeholder 5"/>
          <p:cNvSpPr>
            <a:spLocks noGrp="1"/>
          </p:cNvSpPr>
          <p:nvPr>
            <p:ph type="sldNum" sz="quarter" idx="12"/>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8121542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Vertical Image with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62701" y="276224"/>
            <a:ext cx="5553074" cy="3071813"/>
          </a:xfrm>
        </p:spPr>
        <p:txBody>
          <a:bodyPr anchor="b">
            <a:noAutofit/>
          </a:bodyPr>
          <a:lstStyle>
            <a:lvl1pPr>
              <a:lnSpc>
                <a:spcPct val="70000"/>
              </a:lnSpc>
              <a:defRPr sz="6000">
                <a:solidFill>
                  <a:srgbClr val="0077C8"/>
                </a:solidFill>
              </a:defRPr>
            </a:lvl1pPr>
          </a:lstStyle>
          <a:p>
            <a:r>
              <a:rPr lang="en-US"/>
              <a:t>Click to edit Master title style</a:t>
            </a:r>
            <a:endParaRPr lang="en-US" dirty="0"/>
          </a:p>
        </p:txBody>
      </p:sp>
      <p:sp>
        <p:nvSpPr>
          <p:cNvPr id="5" name="Picture Placeholder 4"/>
          <p:cNvSpPr>
            <a:spLocks noGrp="1"/>
          </p:cNvSpPr>
          <p:nvPr>
            <p:ph type="pic" sz="quarter" idx="10" hasCustomPrompt="1"/>
          </p:nvPr>
        </p:nvSpPr>
        <p:spPr>
          <a:xfrm>
            <a:off x="-1" y="0"/>
            <a:ext cx="6096001" cy="6858000"/>
          </a:xfrm>
        </p:spPr>
        <p:txBody>
          <a:bodyPr/>
          <a:lstStyle>
            <a:lvl1pPr marL="0" indent="0">
              <a:buNone/>
              <a:defRPr>
                <a:solidFill>
                  <a:schemeClr val="bg1"/>
                </a:solidFill>
              </a:defRPr>
            </a:lvl1pPr>
          </a:lstStyle>
          <a:p>
            <a:r>
              <a:rPr lang="en-US" dirty="0"/>
              <a:t>Image</a:t>
            </a:r>
          </a:p>
        </p:txBody>
      </p:sp>
      <p:sp>
        <p:nvSpPr>
          <p:cNvPr id="8" name="Text Placeholder 4"/>
          <p:cNvSpPr>
            <a:spLocks noGrp="1"/>
          </p:cNvSpPr>
          <p:nvPr>
            <p:ph type="body" sz="quarter" idx="11"/>
          </p:nvPr>
        </p:nvSpPr>
        <p:spPr>
          <a:xfrm>
            <a:off x="6362701" y="3429000"/>
            <a:ext cx="5553073" cy="2940269"/>
          </a:xfrm>
        </p:spPr>
        <p:txBody>
          <a:bodyPr/>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2"/>
          </p:nvPr>
        </p:nvSpPr>
        <p:spPr>
          <a:xfrm>
            <a:off x="6363543" y="6412007"/>
            <a:ext cx="1710155" cy="365125"/>
          </a:xfrm>
        </p:spPr>
        <p:txBody>
          <a:bodyPr/>
          <a:lstStyle>
            <a:lvl1pPr algn="l">
              <a:defRPr/>
            </a:lvl1pPr>
          </a:lstStyle>
          <a:p>
            <a:fld id="{FF8E76A1-C759-4A05-82F0-D02F4D24734F}" type="datetime4">
              <a:rPr lang="en-US" smtClean="0"/>
              <a:t>December 3, 2019</a:t>
            </a:fld>
            <a:endParaRPr lang="en-US" dirty="0"/>
          </a:p>
        </p:txBody>
      </p:sp>
      <p:sp>
        <p:nvSpPr>
          <p:cNvPr id="4" name="Footer Placeholder 3"/>
          <p:cNvSpPr>
            <a:spLocks noGrp="1"/>
          </p:cNvSpPr>
          <p:nvPr>
            <p:ph type="ftr" sz="quarter" idx="13"/>
          </p:nvPr>
        </p:nvSpPr>
        <p:spPr/>
        <p:txBody>
          <a:bodyPr/>
          <a:lstStyle/>
          <a:p>
            <a:r>
              <a:rPr lang="en-US"/>
              <a:t>Micron Confidential</a:t>
            </a:r>
            <a:endParaRPr lang="en-US" dirty="0"/>
          </a:p>
        </p:txBody>
      </p:sp>
      <p:sp>
        <p:nvSpPr>
          <p:cNvPr id="6" name="Slide Number Placeholder 5"/>
          <p:cNvSpPr>
            <a:spLocks noGrp="1"/>
          </p:cNvSpPr>
          <p:nvPr>
            <p:ph type="sldNum" sz="quarter" idx="14"/>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1967703537"/>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 Image with White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35365" y="378371"/>
            <a:ext cx="7480409" cy="2694901"/>
          </a:xfrm>
        </p:spPr>
        <p:txBody>
          <a:bodyPr anchor="b">
            <a:noAutofit/>
          </a:bodyPr>
          <a:lstStyle>
            <a:lvl1pPr>
              <a:lnSpc>
                <a:spcPct val="70000"/>
              </a:lnSpc>
              <a:defRPr sz="6000">
                <a:solidFill>
                  <a:srgbClr val="0077C8"/>
                </a:solidFill>
              </a:defRPr>
            </a:lvl1pPr>
          </a:lstStyle>
          <a:p>
            <a:r>
              <a:rPr lang="en-US"/>
              <a:t>Click to edit Master title style</a:t>
            </a:r>
            <a:endParaRPr lang="en-US" dirty="0"/>
          </a:p>
        </p:txBody>
      </p:sp>
      <p:sp>
        <p:nvSpPr>
          <p:cNvPr id="7" name="Text Placeholder 4"/>
          <p:cNvSpPr>
            <a:spLocks noGrp="1"/>
          </p:cNvSpPr>
          <p:nvPr>
            <p:ph type="body" sz="quarter" idx="12"/>
          </p:nvPr>
        </p:nvSpPr>
        <p:spPr>
          <a:xfrm>
            <a:off x="4435365" y="3142593"/>
            <a:ext cx="7480409" cy="3258206"/>
          </a:xfrm>
        </p:spPr>
        <p:txBody>
          <a:bodyPr anchor="t"/>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4"/>
          <p:cNvSpPr>
            <a:spLocks noGrp="1"/>
          </p:cNvSpPr>
          <p:nvPr>
            <p:ph type="pic" sz="quarter" idx="10" hasCustomPrompt="1"/>
          </p:nvPr>
        </p:nvSpPr>
        <p:spPr>
          <a:xfrm>
            <a:off x="0" y="0"/>
            <a:ext cx="4145280" cy="6858000"/>
          </a:xfrm>
        </p:spPr>
        <p:txBody>
          <a:bodyPr/>
          <a:lstStyle>
            <a:lvl1pPr marL="0" indent="0">
              <a:buNone/>
              <a:defRPr>
                <a:solidFill>
                  <a:schemeClr val="bg1"/>
                </a:solidFill>
              </a:defRPr>
            </a:lvl1pPr>
          </a:lstStyle>
          <a:p>
            <a:r>
              <a:rPr lang="en-US" dirty="0"/>
              <a:t>Image</a:t>
            </a:r>
          </a:p>
        </p:txBody>
      </p:sp>
      <p:sp>
        <p:nvSpPr>
          <p:cNvPr id="4" name="Date Placeholder 3"/>
          <p:cNvSpPr>
            <a:spLocks noGrp="1"/>
          </p:cNvSpPr>
          <p:nvPr>
            <p:ph type="dt" sz="half" idx="13"/>
          </p:nvPr>
        </p:nvSpPr>
        <p:spPr>
          <a:xfrm>
            <a:off x="4427734" y="6412007"/>
            <a:ext cx="1710155" cy="365125"/>
          </a:xfrm>
        </p:spPr>
        <p:txBody>
          <a:bodyPr/>
          <a:lstStyle>
            <a:lvl1pPr algn="l">
              <a:defRPr/>
            </a:lvl1pPr>
          </a:lstStyle>
          <a:p>
            <a:fld id="{00222DAE-BC52-44EA-BB87-16305683862E}" type="datetime4">
              <a:rPr lang="en-US" smtClean="0"/>
              <a:t>December 3, 2019</a:t>
            </a:fld>
            <a:endParaRPr lang="en-US" dirty="0"/>
          </a:p>
        </p:txBody>
      </p:sp>
      <p:sp>
        <p:nvSpPr>
          <p:cNvPr id="5" name="Footer Placeholder 4"/>
          <p:cNvSpPr>
            <a:spLocks noGrp="1"/>
          </p:cNvSpPr>
          <p:nvPr>
            <p:ph type="ftr" sz="quarter" idx="14"/>
          </p:nvPr>
        </p:nvSpPr>
        <p:spPr/>
        <p:txBody>
          <a:bodyPr/>
          <a:lstStyle/>
          <a:p>
            <a:r>
              <a:rPr lang="en-US"/>
              <a:t>Micron Confidential</a:t>
            </a:r>
            <a:endParaRPr lang="en-US" dirty="0"/>
          </a:p>
        </p:txBody>
      </p:sp>
      <p:sp>
        <p:nvSpPr>
          <p:cNvPr id="9" name="Slide Number Placeholder 8"/>
          <p:cNvSpPr>
            <a:spLocks noGrp="1"/>
          </p:cNvSpPr>
          <p:nvPr>
            <p:ph type="sldNum" sz="quarter" idx="15"/>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66410327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 Vertical Gray with Content">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6096000" y="0"/>
            <a:ext cx="6096000" cy="6858000"/>
          </a:xfrm>
          <a:prstGeom prst="rect">
            <a:avLst/>
          </a:prstGeom>
          <a:solidFill>
            <a:srgbClr val="D1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10551" y="362309"/>
            <a:ext cx="5601239" cy="6038491"/>
          </a:xfrm>
        </p:spPr>
        <p:txBody>
          <a:bodyPr anchor="ctr">
            <a:noAutofit/>
          </a:bodyPr>
          <a:lstStyle>
            <a:lvl1pPr>
              <a:lnSpc>
                <a:spcPct val="70000"/>
              </a:lnSpc>
              <a:defRPr sz="6000">
                <a:solidFill>
                  <a:srgbClr val="0077C8"/>
                </a:solidFill>
              </a:defRPr>
            </a:lvl1pPr>
          </a:lstStyle>
          <a:p>
            <a:r>
              <a:rPr lang="en-US"/>
              <a:t>Click to edit Master title style</a:t>
            </a:r>
            <a:endParaRPr lang="en-US" dirty="0"/>
          </a:p>
        </p:txBody>
      </p:sp>
      <p:sp>
        <p:nvSpPr>
          <p:cNvPr id="7" name="Text Placeholder 4"/>
          <p:cNvSpPr>
            <a:spLocks noGrp="1"/>
          </p:cNvSpPr>
          <p:nvPr>
            <p:ph type="body" sz="quarter" idx="12"/>
          </p:nvPr>
        </p:nvSpPr>
        <p:spPr>
          <a:xfrm>
            <a:off x="6363543" y="362310"/>
            <a:ext cx="5552231" cy="6038490"/>
          </a:xfrm>
        </p:spPr>
        <p:txBody>
          <a:bodyPr anchor="ctr"/>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4"/>
          </p:nvPr>
        </p:nvSpPr>
        <p:spPr/>
        <p:txBody>
          <a:bodyPr/>
          <a:lstStyle/>
          <a:p>
            <a:r>
              <a:rPr lang="en-US"/>
              <a:t>Micron Confidential</a:t>
            </a:r>
            <a:endParaRPr lang="en-US" dirty="0"/>
          </a:p>
        </p:txBody>
      </p:sp>
      <p:sp>
        <p:nvSpPr>
          <p:cNvPr id="8" name="Slide Number Placeholder 7"/>
          <p:cNvSpPr>
            <a:spLocks noGrp="1"/>
          </p:cNvSpPr>
          <p:nvPr>
            <p:ph type="sldNum" sz="quarter" idx="15"/>
          </p:nvPr>
        </p:nvSpPr>
        <p:spPr/>
        <p:txBody>
          <a:bodyPr/>
          <a:lstStyle/>
          <a:p>
            <a:fld id="{B7E7695C-FCF1-4AA0-9B93-7941FED13DC4}" type="slidenum">
              <a:rPr lang="en-US" smtClean="0"/>
              <a:pPr/>
              <a:t>‹#›</a:t>
            </a:fld>
            <a:endParaRPr lang="en-US" dirty="0"/>
          </a:p>
        </p:txBody>
      </p:sp>
      <p:sp>
        <p:nvSpPr>
          <p:cNvPr id="10" name="Date Placeholder 2"/>
          <p:cNvSpPr>
            <a:spLocks noGrp="1"/>
          </p:cNvSpPr>
          <p:nvPr>
            <p:ph type="dt" sz="half" idx="16"/>
          </p:nvPr>
        </p:nvSpPr>
        <p:spPr>
          <a:xfrm>
            <a:off x="6363543" y="6412007"/>
            <a:ext cx="1710155" cy="365125"/>
          </a:xfrm>
        </p:spPr>
        <p:txBody>
          <a:bodyPr/>
          <a:lstStyle>
            <a:lvl1pPr algn="l">
              <a:defRPr/>
            </a:lvl1pPr>
          </a:lstStyle>
          <a:p>
            <a:fld id="{C2D750BE-7BF8-418F-A307-BC5A93F9A190}" type="datetime4">
              <a:rPr lang="en-US" smtClean="0"/>
              <a:t>December 3, 2019</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4472" y="6470076"/>
            <a:ext cx="914400" cy="248898"/>
          </a:xfrm>
          <a:prstGeom prst="rect">
            <a:avLst/>
          </a:prstGeom>
        </p:spPr>
      </p:pic>
    </p:spTree>
    <p:extLst>
      <p:ext uri="{BB962C8B-B14F-4D97-AF65-F5344CB8AC3E}">
        <p14:creationId xmlns:p14="http://schemas.microsoft.com/office/powerpoint/2010/main" val="162514930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 Image with Content">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4145280" y="0"/>
            <a:ext cx="8046720" cy="6858000"/>
          </a:xfrm>
          <a:prstGeom prst="rect">
            <a:avLst/>
          </a:prstGeom>
          <a:solidFill>
            <a:srgbClr val="D1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435365" y="378371"/>
            <a:ext cx="7480409" cy="2694901"/>
          </a:xfrm>
        </p:spPr>
        <p:txBody>
          <a:bodyPr anchor="b">
            <a:noAutofit/>
          </a:bodyPr>
          <a:lstStyle>
            <a:lvl1pPr>
              <a:lnSpc>
                <a:spcPct val="70000"/>
              </a:lnSpc>
              <a:defRPr sz="6000">
                <a:solidFill>
                  <a:srgbClr val="0077C8"/>
                </a:solidFill>
              </a:defRPr>
            </a:lvl1pPr>
          </a:lstStyle>
          <a:p>
            <a:r>
              <a:rPr lang="en-US"/>
              <a:t>Click to edit Master title style</a:t>
            </a:r>
            <a:endParaRPr lang="en-US" dirty="0"/>
          </a:p>
        </p:txBody>
      </p:sp>
      <p:sp>
        <p:nvSpPr>
          <p:cNvPr id="7" name="Text Placeholder 4"/>
          <p:cNvSpPr>
            <a:spLocks noGrp="1"/>
          </p:cNvSpPr>
          <p:nvPr>
            <p:ph type="body" sz="quarter" idx="12"/>
          </p:nvPr>
        </p:nvSpPr>
        <p:spPr>
          <a:xfrm>
            <a:off x="4435365" y="3142593"/>
            <a:ext cx="7480409" cy="3258206"/>
          </a:xfrm>
        </p:spPr>
        <p:txBody>
          <a:bodyPr anchor="t"/>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4"/>
          <p:cNvSpPr>
            <a:spLocks noGrp="1"/>
          </p:cNvSpPr>
          <p:nvPr>
            <p:ph type="pic" sz="quarter" idx="10" hasCustomPrompt="1"/>
          </p:nvPr>
        </p:nvSpPr>
        <p:spPr>
          <a:xfrm>
            <a:off x="0" y="0"/>
            <a:ext cx="4145280" cy="6858000"/>
          </a:xfrm>
        </p:spPr>
        <p:txBody>
          <a:bodyPr/>
          <a:lstStyle>
            <a:lvl1pPr marL="0" indent="0">
              <a:buNone/>
              <a:defRPr>
                <a:solidFill>
                  <a:schemeClr val="bg1"/>
                </a:solidFill>
              </a:defRPr>
            </a:lvl1pPr>
          </a:lstStyle>
          <a:p>
            <a:r>
              <a:rPr lang="en-US" dirty="0"/>
              <a:t>Image</a:t>
            </a:r>
          </a:p>
        </p:txBody>
      </p:sp>
      <p:sp>
        <p:nvSpPr>
          <p:cNvPr id="4" name="Date Placeholder 3"/>
          <p:cNvSpPr>
            <a:spLocks noGrp="1"/>
          </p:cNvSpPr>
          <p:nvPr>
            <p:ph type="dt" sz="half" idx="13"/>
          </p:nvPr>
        </p:nvSpPr>
        <p:spPr>
          <a:xfrm>
            <a:off x="4427734" y="6412007"/>
            <a:ext cx="1710155" cy="365125"/>
          </a:xfrm>
        </p:spPr>
        <p:txBody>
          <a:bodyPr/>
          <a:lstStyle>
            <a:lvl1pPr algn="l">
              <a:defRPr/>
            </a:lvl1pPr>
          </a:lstStyle>
          <a:p>
            <a:fld id="{4EB1424B-7430-471C-83C4-549E510B5395}" type="datetime4">
              <a:rPr lang="en-US" smtClean="0"/>
              <a:t>December 3, 2019</a:t>
            </a:fld>
            <a:endParaRPr lang="en-US" dirty="0"/>
          </a:p>
        </p:txBody>
      </p:sp>
      <p:sp>
        <p:nvSpPr>
          <p:cNvPr id="5" name="Footer Placeholder 4"/>
          <p:cNvSpPr>
            <a:spLocks noGrp="1"/>
          </p:cNvSpPr>
          <p:nvPr>
            <p:ph type="ftr" sz="quarter" idx="14"/>
          </p:nvPr>
        </p:nvSpPr>
        <p:spPr/>
        <p:txBody>
          <a:bodyPr/>
          <a:lstStyle/>
          <a:p>
            <a:r>
              <a:rPr lang="en-US"/>
              <a:t>Micron Confidential</a:t>
            </a:r>
            <a:endParaRPr lang="en-US" dirty="0"/>
          </a:p>
        </p:txBody>
      </p:sp>
      <p:sp>
        <p:nvSpPr>
          <p:cNvPr id="9" name="Slide Number Placeholder 8"/>
          <p:cNvSpPr>
            <a:spLocks noGrp="1"/>
          </p:cNvSpPr>
          <p:nvPr>
            <p:ph type="sldNum" sz="quarter" idx="15"/>
          </p:nvPr>
        </p:nvSpPr>
        <p:spPr/>
        <p:txBody>
          <a:bodyPr/>
          <a:lstStyle/>
          <a:p>
            <a:fld id="{B7E7695C-FCF1-4AA0-9B93-7941FED13DC4}"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4472" y="6470076"/>
            <a:ext cx="914400" cy="248898"/>
          </a:xfrm>
          <a:prstGeom prst="rect">
            <a:avLst/>
          </a:prstGeom>
        </p:spPr>
      </p:pic>
    </p:spTree>
    <p:extLst>
      <p:ext uri="{BB962C8B-B14F-4D97-AF65-F5344CB8AC3E}">
        <p14:creationId xmlns:p14="http://schemas.microsoft.com/office/powerpoint/2010/main" val="64997429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 Gray with Content">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4059936" cy="6858000"/>
          </a:xfrm>
          <a:prstGeom prst="rect">
            <a:avLst/>
          </a:prstGeom>
          <a:solidFill>
            <a:srgbClr val="D1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435365" y="378371"/>
            <a:ext cx="7480409" cy="2694901"/>
          </a:xfrm>
        </p:spPr>
        <p:txBody>
          <a:bodyPr anchor="b">
            <a:noAutofit/>
          </a:bodyPr>
          <a:lstStyle>
            <a:lvl1pPr>
              <a:lnSpc>
                <a:spcPct val="70000"/>
              </a:lnSpc>
              <a:defRPr sz="6000">
                <a:solidFill>
                  <a:srgbClr val="0077C8"/>
                </a:solidFill>
              </a:defRPr>
            </a:lvl1pPr>
          </a:lstStyle>
          <a:p>
            <a:r>
              <a:rPr lang="en-US"/>
              <a:t>Click to edit Master title style</a:t>
            </a:r>
            <a:endParaRPr lang="en-US" dirty="0"/>
          </a:p>
        </p:txBody>
      </p:sp>
      <p:sp>
        <p:nvSpPr>
          <p:cNvPr id="7" name="Text Placeholder 4"/>
          <p:cNvSpPr>
            <a:spLocks noGrp="1"/>
          </p:cNvSpPr>
          <p:nvPr>
            <p:ph type="body" sz="quarter" idx="12"/>
          </p:nvPr>
        </p:nvSpPr>
        <p:spPr>
          <a:xfrm>
            <a:off x="4435365" y="3142593"/>
            <a:ext cx="7480409" cy="3258206"/>
          </a:xfrm>
        </p:spPr>
        <p:txBody>
          <a:bodyPr anchor="t"/>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3"/>
          </p:nvPr>
        </p:nvSpPr>
        <p:spPr>
          <a:xfrm>
            <a:off x="4427733" y="6412007"/>
            <a:ext cx="1710155" cy="365125"/>
          </a:xfrm>
        </p:spPr>
        <p:txBody>
          <a:bodyPr/>
          <a:lstStyle>
            <a:lvl1pPr algn="l">
              <a:defRPr/>
            </a:lvl1pPr>
          </a:lstStyle>
          <a:p>
            <a:fld id="{80216B39-F66D-478D-B884-A0FF9D616316}" type="datetime4">
              <a:rPr lang="en-US" smtClean="0"/>
              <a:t>December 3, 2019</a:t>
            </a:fld>
            <a:endParaRPr lang="en-US" dirty="0"/>
          </a:p>
        </p:txBody>
      </p:sp>
      <p:sp>
        <p:nvSpPr>
          <p:cNvPr id="5" name="Footer Placeholder 4"/>
          <p:cNvSpPr>
            <a:spLocks noGrp="1"/>
          </p:cNvSpPr>
          <p:nvPr>
            <p:ph type="ftr" sz="quarter" idx="14"/>
          </p:nvPr>
        </p:nvSpPr>
        <p:spPr/>
        <p:txBody>
          <a:bodyPr/>
          <a:lstStyle/>
          <a:p>
            <a:r>
              <a:rPr lang="en-US"/>
              <a:t>Micron Confidential</a:t>
            </a:r>
            <a:endParaRPr lang="en-US" dirty="0"/>
          </a:p>
        </p:txBody>
      </p:sp>
      <p:sp>
        <p:nvSpPr>
          <p:cNvPr id="8" name="Slide Number Placeholder 7"/>
          <p:cNvSpPr>
            <a:spLocks noGrp="1"/>
          </p:cNvSpPr>
          <p:nvPr>
            <p:ph type="sldNum" sz="quarter" idx="15"/>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362569666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 Horizontal Image with Conten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2"/>
          </p:nvPr>
        </p:nvSpPr>
        <p:spPr/>
        <p:txBody>
          <a:bodyPr/>
          <a:lstStyle>
            <a:lvl1pPr>
              <a:defRPr>
                <a:solidFill>
                  <a:srgbClr val="58595B"/>
                </a:solidFill>
              </a:defRPr>
            </a:lvl1pPr>
          </a:lstStyle>
          <a:p>
            <a:fld id="{D9C12826-C929-4EC1-A034-DDD33446EFCD}" type="datetime4">
              <a:rPr lang="en-US" smtClean="0"/>
              <a:t>December 3, 2019</a:t>
            </a:fld>
            <a:endParaRPr lang="en-US" dirty="0"/>
          </a:p>
        </p:txBody>
      </p:sp>
      <p:sp>
        <p:nvSpPr>
          <p:cNvPr id="4" name="Footer Placeholder 3"/>
          <p:cNvSpPr>
            <a:spLocks noGrp="1"/>
          </p:cNvSpPr>
          <p:nvPr>
            <p:ph type="ftr" sz="quarter" idx="13"/>
          </p:nvPr>
        </p:nvSpPr>
        <p:spPr/>
        <p:txBody>
          <a:bodyPr/>
          <a:lstStyle>
            <a:lvl1pPr>
              <a:defRPr>
                <a:solidFill>
                  <a:srgbClr val="58595B"/>
                </a:solidFill>
              </a:defRPr>
            </a:lvl1pPr>
          </a:lstStyle>
          <a:p>
            <a:r>
              <a:rPr lang="en-US"/>
              <a:t>Micron Confidential</a:t>
            </a:r>
            <a:endParaRPr lang="en-US" dirty="0"/>
          </a:p>
        </p:txBody>
      </p:sp>
      <p:sp>
        <p:nvSpPr>
          <p:cNvPr id="6" name="Slide Number Placeholder 5"/>
          <p:cNvSpPr>
            <a:spLocks noGrp="1"/>
          </p:cNvSpPr>
          <p:nvPr>
            <p:ph type="sldNum" sz="quarter" idx="14"/>
          </p:nvPr>
        </p:nvSpPr>
        <p:spPr/>
        <p:txBody>
          <a:bodyPr/>
          <a:lstStyle>
            <a:lvl1pPr>
              <a:defRPr>
                <a:solidFill>
                  <a:srgbClr val="58595B"/>
                </a:solidFill>
              </a:defRPr>
            </a:lvl1pPr>
          </a:lstStyle>
          <a:p>
            <a:fld id="{B7E7695C-FCF1-4AA0-9B93-7941FED13DC4}" type="slidenum">
              <a:rPr lang="en-US" smtClean="0"/>
              <a:pPr/>
              <a:t>‹#›</a:t>
            </a:fld>
            <a:endParaRPr lang="en-US" dirty="0"/>
          </a:p>
        </p:txBody>
      </p:sp>
      <p:sp>
        <p:nvSpPr>
          <p:cNvPr id="10" name="Picture Placeholder 4"/>
          <p:cNvSpPr>
            <a:spLocks noGrp="1"/>
          </p:cNvSpPr>
          <p:nvPr>
            <p:ph type="pic" sz="quarter" idx="10" hasCustomPrompt="1"/>
          </p:nvPr>
        </p:nvSpPr>
        <p:spPr>
          <a:xfrm>
            <a:off x="-1" y="0"/>
            <a:ext cx="12192001" cy="3428999"/>
          </a:xfrm>
        </p:spPr>
        <p:txBody>
          <a:bodyPr/>
          <a:lstStyle>
            <a:lvl1pPr marL="0" indent="0">
              <a:buNone/>
              <a:defRPr>
                <a:solidFill>
                  <a:schemeClr val="bg1"/>
                </a:solidFill>
              </a:defRPr>
            </a:lvl1pPr>
          </a:lstStyle>
          <a:p>
            <a:r>
              <a:rPr lang="en-US" dirty="0"/>
              <a:t>Image</a:t>
            </a:r>
          </a:p>
        </p:txBody>
      </p:sp>
      <p:sp>
        <p:nvSpPr>
          <p:cNvPr id="2" name="Title 1"/>
          <p:cNvSpPr>
            <a:spLocks noGrp="1"/>
          </p:cNvSpPr>
          <p:nvPr>
            <p:ph type="title"/>
          </p:nvPr>
        </p:nvSpPr>
        <p:spPr>
          <a:xfrm>
            <a:off x="271461" y="3429000"/>
            <a:ext cx="5689391" cy="2983005"/>
          </a:xfrm>
        </p:spPr>
        <p:txBody>
          <a:bodyPr anchor="ctr">
            <a:noAutofit/>
          </a:bodyPr>
          <a:lstStyle>
            <a:lvl1pPr algn="r">
              <a:lnSpc>
                <a:spcPct val="70000"/>
              </a:lnSpc>
              <a:defRPr sz="6000">
                <a:solidFill>
                  <a:srgbClr val="0077C8"/>
                </a:solidFill>
              </a:defRPr>
            </a:lvl1pPr>
          </a:lstStyle>
          <a:p>
            <a:r>
              <a:rPr lang="en-US"/>
              <a:t>Click to edit Master title style</a:t>
            </a:r>
            <a:endParaRPr lang="en-US" dirty="0"/>
          </a:p>
        </p:txBody>
      </p:sp>
      <p:sp>
        <p:nvSpPr>
          <p:cNvPr id="11" name="Text Placeholder 4"/>
          <p:cNvSpPr>
            <a:spLocks noGrp="1"/>
          </p:cNvSpPr>
          <p:nvPr>
            <p:ph type="body" sz="quarter" idx="15"/>
          </p:nvPr>
        </p:nvSpPr>
        <p:spPr>
          <a:xfrm>
            <a:off x="6232314" y="3429000"/>
            <a:ext cx="5645362" cy="2983005"/>
          </a:xfrm>
        </p:spPr>
        <p:txBody>
          <a:bodyPr anchor="ctr"/>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844136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Horizontal Gray with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1461" y="3429000"/>
            <a:ext cx="5689391" cy="2983005"/>
          </a:xfrm>
        </p:spPr>
        <p:txBody>
          <a:bodyPr anchor="ctr">
            <a:noAutofit/>
          </a:bodyPr>
          <a:lstStyle>
            <a:lvl1pPr algn="r">
              <a:lnSpc>
                <a:spcPct val="70000"/>
              </a:lnSpc>
              <a:defRPr sz="6000">
                <a:solidFill>
                  <a:srgbClr val="0077C8"/>
                </a:solidFill>
              </a:defRPr>
            </a:lvl1pPr>
          </a:lstStyle>
          <a:p>
            <a:r>
              <a:rPr lang="en-US"/>
              <a:t>Click to edit Master title style</a:t>
            </a:r>
            <a:endParaRPr lang="en-US" dirty="0"/>
          </a:p>
        </p:txBody>
      </p:sp>
      <p:sp>
        <p:nvSpPr>
          <p:cNvPr id="3" name="Date Placeholder 2"/>
          <p:cNvSpPr>
            <a:spLocks noGrp="1"/>
          </p:cNvSpPr>
          <p:nvPr>
            <p:ph type="dt" sz="half" idx="12"/>
          </p:nvPr>
        </p:nvSpPr>
        <p:spPr/>
        <p:txBody>
          <a:bodyPr/>
          <a:lstStyle>
            <a:lvl1pPr>
              <a:defRPr>
                <a:solidFill>
                  <a:srgbClr val="58595B"/>
                </a:solidFill>
              </a:defRPr>
            </a:lvl1pPr>
          </a:lstStyle>
          <a:p>
            <a:fld id="{12DB95A8-C6B4-4D55-B432-1FF1EC598499}" type="datetime4">
              <a:rPr lang="en-US" smtClean="0"/>
              <a:t>December 3, 2019</a:t>
            </a:fld>
            <a:endParaRPr lang="en-US" dirty="0"/>
          </a:p>
        </p:txBody>
      </p:sp>
      <p:sp>
        <p:nvSpPr>
          <p:cNvPr id="4" name="Footer Placeholder 3"/>
          <p:cNvSpPr>
            <a:spLocks noGrp="1"/>
          </p:cNvSpPr>
          <p:nvPr>
            <p:ph type="ftr" sz="quarter" idx="13"/>
          </p:nvPr>
        </p:nvSpPr>
        <p:spPr/>
        <p:txBody>
          <a:bodyPr/>
          <a:lstStyle>
            <a:lvl1pPr>
              <a:defRPr>
                <a:solidFill>
                  <a:srgbClr val="58595B"/>
                </a:solidFill>
              </a:defRPr>
            </a:lvl1pPr>
          </a:lstStyle>
          <a:p>
            <a:r>
              <a:rPr lang="en-US"/>
              <a:t>Micron Confidential</a:t>
            </a:r>
            <a:endParaRPr lang="en-US" dirty="0"/>
          </a:p>
        </p:txBody>
      </p:sp>
      <p:sp>
        <p:nvSpPr>
          <p:cNvPr id="6" name="Slide Number Placeholder 5"/>
          <p:cNvSpPr>
            <a:spLocks noGrp="1"/>
          </p:cNvSpPr>
          <p:nvPr>
            <p:ph type="sldNum" sz="quarter" idx="14"/>
          </p:nvPr>
        </p:nvSpPr>
        <p:spPr/>
        <p:txBody>
          <a:bodyPr/>
          <a:lstStyle>
            <a:lvl1pPr>
              <a:defRPr>
                <a:solidFill>
                  <a:srgbClr val="58595B"/>
                </a:solidFill>
              </a:defRPr>
            </a:lvl1pPr>
          </a:lstStyle>
          <a:p>
            <a:fld id="{B7E7695C-FCF1-4AA0-9B93-7941FED13DC4}" type="slidenum">
              <a:rPr lang="en-US" smtClean="0"/>
              <a:pPr/>
              <a:t>‹#›</a:t>
            </a:fld>
            <a:endParaRPr lang="en-US" dirty="0"/>
          </a:p>
        </p:txBody>
      </p:sp>
      <p:sp>
        <p:nvSpPr>
          <p:cNvPr id="9" name="Rectangle 8"/>
          <p:cNvSpPr/>
          <p:nvPr userDrawn="1"/>
        </p:nvSpPr>
        <p:spPr>
          <a:xfrm>
            <a:off x="0" y="0"/>
            <a:ext cx="12192000" cy="3429000"/>
          </a:xfrm>
          <a:prstGeom prst="rect">
            <a:avLst/>
          </a:prstGeom>
          <a:solidFill>
            <a:srgbClr val="D1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4"/>
          <p:cNvSpPr>
            <a:spLocks noGrp="1"/>
          </p:cNvSpPr>
          <p:nvPr>
            <p:ph type="body" sz="quarter" idx="15"/>
          </p:nvPr>
        </p:nvSpPr>
        <p:spPr>
          <a:xfrm>
            <a:off x="6232314" y="3429000"/>
            <a:ext cx="5645362" cy="2983005"/>
          </a:xfrm>
        </p:spPr>
        <p:txBody>
          <a:bodyPr anchor="ctr"/>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4821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5652194" y="270707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653310" y="3602420"/>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18" name="组合 17">
            <a:extLst>
              <a:ext uri="{FF2B5EF4-FFF2-40B4-BE49-F238E27FC236}">
                <a16:creationId xmlns:a16="http://schemas.microsoft.com/office/drawing/2014/main" id="{215544EF-6E38-4470-8432-AF40D544BBDF}"/>
              </a:ext>
            </a:extLst>
          </p:cNvPr>
          <p:cNvGrpSpPr/>
          <p:nvPr userDrawn="1"/>
        </p:nvGrpSpPr>
        <p:grpSpPr>
          <a:xfrm>
            <a:off x="1048298" y="1362129"/>
            <a:ext cx="4269841" cy="4259865"/>
            <a:chOff x="3379788" y="717550"/>
            <a:chExt cx="5435600" cy="5422900"/>
          </a:xfrm>
        </p:grpSpPr>
        <p:sp>
          <p:nvSpPr>
            <p:cNvPr id="5" name="Freeform 5">
              <a:extLst>
                <a:ext uri="{FF2B5EF4-FFF2-40B4-BE49-F238E27FC236}">
                  <a16:creationId xmlns:a16="http://schemas.microsoft.com/office/drawing/2014/main" id="{28602439-1C1B-42C6-97C5-210F65C7CD43}"/>
                </a:ext>
              </a:extLst>
            </p:cNvPr>
            <p:cNvSpPr>
              <a:spLocks/>
            </p:cNvSpPr>
            <p:nvPr userDrawn="1"/>
          </p:nvSpPr>
          <p:spPr bwMode="auto">
            <a:xfrm>
              <a:off x="3408363" y="917575"/>
              <a:ext cx="5378450" cy="5022850"/>
            </a:xfrm>
            <a:custGeom>
              <a:avLst/>
              <a:gdLst>
                <a:gd name="T0" fmla="*/ 1688 w 1688"/>
                <a:gd name="T1" fmla="*/ 789 h 1578"/>
                <a:gd name="T2" fmla="*/ 1298 w 1688"/>
                <a:gd name="T3" fmla="*/ 1051 h 1578"/>
                <a:gd name="T4" fmla="*/ 1266 w 1688"/>
                <a:gd name="T5" fmla="*/ 1520 h 1578"/>
                <a:gd name="T6" fmla="*/ 844 w 1688"/>
                <a:gd name="T7" fmla="*/ 1313 h 1578"/>
                <a:gd name="T8" fmla="*/ 422 w 1688"/>
                <a:gd name="T9" fmla="*/ 1520 h 1578"/>
                <a:gd name="T10" fmla="*/ 390 w 1688"/>
                <a:gd name="T11" fmla="*/ 1051 h 1578"/>
                <a:gd name="T12" fmla="*/ 0 w 1688"/>
                <a:gd name="T13" fmla="*/ 789 h 1578"/>
                <a:gd name="T14" fmla="*/ 390 w 1688"/>
                <a:gd name="T15" fmla="*/ 527 h 1578"/>
                <a:gd name="T16" fmla="*/ 422 w 1688"/>
                <a:gd name="T17" fmla="*/ 58 h 1578"/>
                <a:gd name="T18" fmla="*/ 844 w 1688"/>
                <a:gd name="T19" fmla="*/ 265 h 1578"/>
                <a:gd name="T20" fmla="*/ 1266 w 1688"/>
                <a:gd name="T21" fmla="*/ 58 h 1578"/>
                <a:gd name="T22" fmla="*/ 1298 w 1688"/>
                <a:gd name="T23" fmla="*/ 527 h 1578"/>
                <a:gd name="T24" fmla="*/ 1688 w 1688"/>
                <a:gd name="T25" fmla="*/ 789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8" h="1578">
                  <a:moveTo>
                    <a:pt x="1688" y="789"/>
                  </a:moveTo>
                  <a:cubicBezTo>
                    <a:pt x="1688" y="914"/>
                    <a:pt x="1356" y="950"/>
                    <a:pt x="1298" y="1051"/>
                  </a:cubicBezTo>
                  <a:cubicBezTo>
                    <a:pt x="1238" y="1155"/>
                    <a:pt x="1370" y="1460"/>
                    <a:pt x="1266" y="1520"/>
                  </a:cubicBezTo>
                  <a:cubicBezTo>
                    <a:pt x="1166" y="1578"/>
                    <a:pt x="969" y="1313"/>
                    <a:pt x="844" y="1313"/>
                  </a:cubicBezTo>
                  <a:cubicBezTo>
                    <a:pt x="719" y="1313"/>
                    <a:pt x="522" y="1578"/>
                    <a:pt x="422" y="1520"/>
                  </a:cubicBezTo>
                  <a:cubicBezTo>
                    <a:pt x="318" y="1460"/>
                    <a:pt x="450" y="1155"/>
                    <a:pt x="390" y="1051"/>
                  </a:cubicBezTo>
                  <a:cubicBezTo>
                    <a:pt x="332" y="950"/>
                    <a:pt x="0" y="914"/>
                    <a:pt x="0" y="789"/>
                  </a:cubicBezTo>
                  <a:cubicBezTo>
                    <a:pt x="0" y="664"/>
                    <a:pt x="332" y="628"/>
                    <a:pt x="390" y="527"/>
                  </a:cubicBezTo>
                  <a:cubicBezTo>
                    <a:pt x="450" y="423"/>
                    <a:pt x="318" y="118"/>
                    <a:pt x="422" y="58"/>
                  </a:cubicBezTo>
                  <a:cubicBezTo>
                    <a:pt x="522" y="0"/>
                    <a:pt x="719" y="265"/>
                    <a:pt x="844" y="265"/>
                  </a:cubicBezTo>
                  <a:cubicBezTo>
                    <a:pt x="969" y="265"/>
                    <a:pt x="1166" y="0"/>
                    <a:pt x="1266" y="58"/>
                  </a:cubicBezTo>
                  <a:cubicBezTo>
                    <a:pt x="1370" y="118"/>
                    <a:pt x="1238" y="423"/>
                    <a:pt x="1298" y="527"/>
                  </a:cubicBezTo>
                  <a:cubicBezTo>
                    <a:pt x="1356" y="628"/>
                    <a:pt x="1688" y="664"/>
                    <a:pt x="1688" y="789"/>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 name="Freeform 6">
              <a:extLst>
                <a:ext uri="{FF2B5EF4-FFF2-40B4-BE49-F238E27FC236}">
                  <a16:creationId xmlns:a16="http://schemas.microsoft.com/office/drawing/2014/main" id="{75112A1C-A447-4F1E-86D7-2E711F2DA09E}"/>
                </a:ext>
              </a:extLst>
            </p:cNvPr>
            <p:cNvSpPr>
              <a:spLocks/>
            </p:cNvSpPr>
            <p:nvPr userDrawn="1"/>
          </p:nvSpPr>
          <p:spPr bwMode="auto">
            <a:xfrm>
              <a:off x="3392488" y="866775"/>
              <a:ext cx="5410200" cy="5124450"/>
            </a:xfrm>
            <a:custGeom>
              <a:avLst/>
              <a:gdLst>
                <a:gd name="T0" fmla="*/ 1692 w 1698"/>
                <a:gd name="T1" fmla="*/ 761 h 1610"/>
                <a:gd name="T2" fmla="*/ 1316 w 1698"/>
                <a:gd name="T3" fmla="*/ 1043 h 1610"/>
                <a:gd name="T4" fmla="*/ 1309 w 1698"/>
                <a:gd name="T5" fmla="*/ 1513 h 1610"/>
                <a:gd name="T6" fmla="*/ 876 w 1698"/>
                <a:gd name="T7" fmla="*/ 1328 h 1610"/>
                <a:gd name="T8" fmla="*/ 466 w 1698"/>
                <a:gd name="T9" fmla="*/ 1557 h 1610"/>
                <a:gd name="T10" fmla="*/ 409 w 1698"/>
                <a:gd name="T11" fmla="*/ 1090 h 1610"/>
                <a:gd name="T12" fmla="*/ 6 w 1698"/>
                <a:gd name="T13" fmla="*/ 849 h 1610"/>
                <a:gd name="T14" fmla="*/ 382 w 1698"/>
                <a:gd name="T15" fmla="*/ 567 h 1610"/>
                <a:gd name="T16" fmla="*/ 389 w 1698"/>
                <a:gd name="T17" fmla="*/ 97 h 1610"/>
                <a:gd name="T18" fmla="*/ 822 w 1698"/>
                <a:gd name="T19" fmla="*/ 282 h 1610"/>
                <a:gd name="T20" fmla="*/ 1232 w 1698"/>
                <a:gd name="T21" fmla="*/ 53 h 1610"/>
                <a:gd name="T22" fmla="*/ 1289 w 1698"/>
                <a:gd name="T23" fmla="*/ 520 h 1610"/>
                <a:gd name="T24" fmla="*/ 1692 w 1698"/>
                <a:gd name="T25" fmla="*/ 761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8" h="1610">
                  <a:moveTo>
                    <a:pt x="1692" y="761"/>
                  </a:moveTo>
                  <a:cubicBezTo>
                    <a:pt x="1698" y="885"/>
                    <a:pt x="1369" y="939"/>
                    <a:pt x="1316" y="1043"/>
                  </a:cubicBezTo>
                  <a:cubicBezTo>
                    <a:pt x="1262" y="1150"/>
                    <a:pt x="1409" y="1447"/>
                    <a:pt x="1309" y="1513"/>
                  </a:cubicBezTo>
                  <a:cubicBezTo>
                    <a:pt x="1211" y="1576"/>
                    <a:pt x="1001" y="1322"/>
                    <a:pt x="876" y="1328"/>
                  </a:cubicBezTo>
                  <a:cubicBezTo>
                    <a:pt x="752" y="1335"/>
                    <a:pt x="569" y="1610"/>
                    <a:pt x="466" y="1557"/>
                  </a:cubicBezTo>
                  <a:cubicBezTo>
                    <a:pt x="359" y="1503"/>
                    <a:pt x="475" y="1191"/>
                    <a:pt x="409" y="1090"/>
                  </a:cubicBezTo>
                  <a:cubicBezTo>
                    <a:pt x="346" y="993"/>
                    <a:pt x="13" y="974"/>
                    <a:pt x="6" y="849"/>
                  </a:cubicBezTo>
                  <a:cubicBezTo>
                    <a:pt x="0" y="725"/>
                    <a:pt x="329" y="671"/>
                    <a:pt x="382" y="567"/>
                  </a:cubicBezTo>
                  <a:cubicBezTo>
                    <a:pt x="436" y="460"/>
                    <a:pt x="289" y="163"/>
                    <a:pt x="389" y="97"/>
                  </a:cubicBezTo>
                  <a:cubicBezTo>
                    <a:pt x="487" y="34"/>
                    <a:pt x="697" y="288"/>
                    <a:pt x="822" y="282"/>
                  </a:cubicBezTo>
                  <a:cubicBezTo>
                    <a:pt x="946" y="275"/>
                    <a:pt x="1129" y="0"/>
                    <a:pt x="1232" y="53"/>
                  </a:cubicBezTo>
                  <a:cubicBezTo>
                    <a:pt x="1339" y="107"/>
                    <a:pt x="1223" y="419"/>
                    <a:pt x="1289" y="520"/>
                  </a:cubicBezTo>
                  <a:cubicBezTo>
                    <a:pt x="1352" y="617"/>
                    <a:pt x="1685" y="636"/>
                    <a:pt x="1692" y="761"/>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8860E805-3C85-4EB6-BD84-57AD8DD9EDBF}"/>
                </a:ext>
              </a:extLst>
            </p:cNvPr>
            <p:cNvSpPr>
              <a:spLocks/>
            </p:cNvSpPr>
            <p:nvPr userDrawn="1"/>
          </p:nvSpPr>
          <p:spPr bwMode="auto">
            <a:xfrm>
              <a:off x="3382963" y="825500"/>
              <a:ext cx="5429250" cy="5207000"/>
            </a:xfrm>
            <a:custGeom>
              <a:avLst/>
              <a:gdLst>
                <a:gd name="T0" fmla="*/ 1691 w 1704"/>
                <a:gd name="T1" fmla="*/ 730 h 1636"/>
                <a:gd name="T2" fmla="*/ 1331 w 1704"/>
                <a:gd name="T3" fmla="*/ 1031 h 1636"/>
                <a:gd name="T4" fmla="*/ 1348 w 1704"/>
                <a:gd name="T5" fmla="*/ 1501 h 1636"/>
                <a:gd name="T6" fmla="*/ 907 w 1704"/>
                <a:gd name="T7" fmla="*/ 1339 h 1636"/>
                <a:gd name="T8" fmla="*/ 509 w 1704"/>
                <a:gd name="T9" fmla="*/ 1589 h 1636"/>
                <a:gd name="T10" fmla="*/ 428 w 1704"/>
                <a:gd name="T11" fmla="*/ 1126 h 1636"/>
                <a:gd name="T12" fmla="*/ 13 w 1704"/>
                <a:gd name="T13" fmla="*/ 906 h 1636"/>
                <a:gd name="T14" fmla="*/ 373 w 1704"/>
                <a:gd name="T15" fmla="*/ 605 h 1636"/>
                <a:gd name="T16" fmla="*/ 356 w 1704"/>
                <a:gd name="T17" fmla="*/ 135 h 1636"/>
                <a:gd name="T18" fmla="*/ 797 w 1704"/>
                <a:gd name="T19" fmla="*/ 297 h 1636"/>
                <a:gd name="T20" fmla="*/ 1195 w 1704"/>
                <a:gd name="T21" fmla="*/ 47 h 1636"/>
                <a:gd name="T22" fmla="*/ 1276 w 1704"/>
                <a:gd name="T23" fmla="*/ 510 h 1636"/>
                <a:gd name="T24" fmla="*/ 1691 w 1704"/>
                <a:gd name="T25" fmla="*/ 73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4" h="1636">
                  <a:moveTo>
                    <a:pt x="1691" y="730"/>
                  </a:moveTo>
                  <a:cubicBezTo>
                    <a:pt x="1704" y="854"/>
                    <a:pt x="1378" y="925"/>
                    <a:pt x="1331" y="1031"/>
                  </a:cubicBezTo>
                  <a:cubicBezTo>
                    <a:pt x="1282" y="1141"/>
                    <a:pt x="1445" y="1430"/>
                    <a:pt x="1348" y="1501"/>
                  </a:cubicBezTo>
                  <a:cubicBezTo>
                    <a:pt x="1254" y="1569"/>
                    <a:pt x="1031" y="1326"/>
                    <a:pt x="907" y="1339"/>
                  </a:cubicBezTo>
                  <a:cubicBezTo>
                    <a:pt x="783" y="1352"/>
                    <a:pt x="615" y="1636"/>
                    <a:pt x="509" y="1589"/>
                  </a:cubicBezTo>
                  <a:cubicBezTo>
                    <a:pt x="399" y="1540"/>
                    <a:pt x="498" y="1223"/>
                    <a:pt x="428" y="1126"/>
                  </a:cubicBezTo>
                  <a:cubicBezTo>
                    <a:pt x="359" y="1032"/>
                    <a:pt x="26" y="1030"/>
                    <a:pt x="13" y="906"/>
                  </a:cubicBezTo>
                  <a:cubicBezTo>
                    <a:pt x="0" y="782"/>
                    <a:pt x="326" y="711"/>
                    <a:pt x="373" y="605"/>
                  </a:cubicBezTo>
                  <a:cubicBezTo>
                    <a:pt x="422" y="495"/>
                    <a:pt x="259" y="206"/>
                    <a:pt x="356" y="135"/>
                  </a:cubicBezTo>
                  <a:cubicBezTo>
                    <a:pt x="450" y="67"/>
                    <a:pt x="673" y="310"/>
                    <a:pt x="797" y="297"/>
                  </a:cubicBezTo>
                  <a:cubicBezTo>
                    <a:pt x="921" y="284"/>
                    <a:pt x="1089" y="0"/>
                    <a:pt x="1195" y="47"/>
                  </a:cubicBezTo>
                  <a:cubicBezTo>
                    <a:pt x="1305" y="96"/>
                    <a:pt x="1206" y="413"/>
                    <a:pt x="1276" y="510"/>
                  </a:cubicBezTo>
                  <a:cubicBezTo>
                    <a:pt x="1345" y="604"/>
                    <a:pt x="1678" y="606"/>
                    <a:pt x="1691" y="730"/>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8">
              <a:extLst>
                <a:ext uri="{FF2B5EF4-FFF2-40B4-BE49-F238E27FC236}">
                  <a16:creationId xmlns:a16="http://schemas.microsoft.com/office/drawing/2014/main" id="{8ECE0B88-ACC2-49F8-8E8C-863B06466817}"/>
                </a:ext>
              </a:extLst>
            </p:cNvPr>
            <p:cNvSpPr>
              <a:spLocks/>
            </p:cNvSpPr>
            <p:nvPr userDrawn="1"/>
          </p:nvSpPr>
          <p:spPr bwMode="auto">
            <a:xfrm>
              <a:off x="3379788" y="787400"/>
              <a:ext cx="5435600" cy="5283200"/>
            </a:xfrm>
            <a:custGeom>
              <a:avLst/>
              <a:gdLst>
                <a:gd name="T0" fmla="*/ 1687 w 1706"/>
                <a:gd name="T1" fmla="*/ 698 h 1660"/>
                <a:gd name="T2" fmla="*/ 1342 w 1706"/>
                <a:gd name="T3" fmla="*/ 1018 h 1660"/>
                <a:gd name="T4" fmla="*/ 1384 w 1706"/>
                <a:gd name="T5" fmla="*/ 1486 h 1660"/>
                <a:gd name="T6" fmla="*/ 935 w 1706"/>
                <a:gd name="T7" fmla="*/ 1348 h 1660"/>
                <a:gd name="T8" fmla="*/ 550 w 1706"/>
                <a:gd name="T9" fmla="*/ 1618 h 1660"/>
                <a:gd name="T10" fmla="*/ 446 w 1706"/>
                <a:gd name="T11" fmla="*/ 1160 h 1660"/>
                <a:gd name="T12" fmla="*/ 19 w 1706"/>
                <a:gd name="T13" fmla="*/ 962 h 1660"/>
                <a:gd name="T14" fmla="*/ 364 w 1706"/>
                <a:gd name="T15" fmla="*/ 642 h 1660"/>
                <a:gd name="T16" fmla="*/ 322 w 1706"/>
                <a:gd name="T17" fmla="*/ 174 h 1660"/>
                <a:gd name="T18" fmla="*/ 771 w 1706"/>
                <a:gd name="T19" fmla="*/ 312 h 1660"/>
                <a:gd name="T20" fmla="*/ 1156 w 1706"/>
                <a:gd name="T21" fmla="*/ 42 h 1660"/>
                <a:gd name="T22" fmla="*/ 1260 w 1706"/>
                <a:gd name="T23" fmla="*/ 500 h 1660"/>
                <a:gd name="T24" fmla="*/ 1687 w 1706"/>
                <a:gd name="T25" fmla="*/ 698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6" h="1660">
                  <a:moveTo>
                    <a:pt x="1687" y="698"/>
                  </a:moveTo>
                  <a:cubicBezTo>
                    <a:pt x="1706" y="821"/>
                    <a:pt x="1384" y="909"/>
                    <a:pt x="1342" y="1018"/>
                  </a:cubicBezTo>
                  <a:cubicBezTo>
                    <a:pt x="1299" y="1130"/>
                    <a:pt x="1477" y="1410"/>
                    <a:pt x="1384" y="1486"/>
                  </a:cubicBezTo>
                  <a:cubicBezTo>
                    <a:pt x="1294" y="1559"/>
                    <a:pt x="1058" y="1328"/>
                    <a:pt x="935" y="1348"/>
                  </a:cubicBezTo>
                  <a:cubicBezTo>
                    <a:pt x="812" y="1367"/>
                    <a:pt x="659" y="1660"/>
                    <a:pt x="550" y="1618"/>
                  </a:cubicBezTo>
                  <a:cubicBezTo>
                    <a:pt x="438" y="1575"/>
                    <a:pt x="521" y="1253"/>
                    <a:pt x="446" y="1160"/>
                  </a:cubicBezTo>
                  <a:cubicBezTo>
                    <a:pt x="372" y="1069"/>
                    <a:pt x="39" y="1085"/>
                    <a:pt x="19" y="962"/>
                  </a:cubicBezTo>
                  <a:cubicBezTo>
                    <a:pt x="0" y="839"/>
                    <a:pt x="322" y="751"/>
                    <a:pt x="364" y="642"/>
                  </a:cubicBezTo>
                  <a:cubicBezTo>
                    <a:pt x="407" y="530"/>
                    <a:pt x="229" y="250"/>
                    <a:pt x="322" y="174"/>
                  </a:cubicBezTo>
                  <a:cubicBezTo>
                    <a:pt x="412" y="101"/>
                    <a:pt x="648" y="332"/>
                    <a:pt x="771" y="312"/>
                  </a:cubicBezTo>
                  <a:cubicBezTo>
                    <a:pt x="894" y="293"/>
                    <a:pt x="1047" y="0"/>
                    <a:pt x="1156" y="42"/>
                  </a:cubicBezTo>
                  <a:cubicBezTo>
                    <a:pt x="1268" y="85"/>
                    <a:pt x="1185" y="407"/>
                    <a:pt x="1260" y="500"/>
                  </a:cubicBezTo>
                  <a:cubicBezTo>
                    <a:pt x="1334" y="591"/>
                    <a:pt x="1667" y="575"/>
                    <a:pt x="1687" y="698"/>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9">
              <a:extLst>
                <a:ext uri="{FF2B5EF4-FFF2-40B4-BE49-F238E27FC236}">
                  <a16:creationId xmlns:a16="http://schemas.microsoft.com/office/drawing/2014/main" id="{B99F65E3-413A-49C9-AE8E-988BB87B3F14}"/>
                </a:ext>
              </a:extLst>
            </p:cNvPr>
            <p:cNvSpPr>
              <a:spLocks/>
            </p:cNvSpPr>
            <p:nvPr userDrawn="1"/>
          </p:nvSpPr>
          <p:spPr bwMode="auto">
            <a:xfrm>
              <a:off x="3386138" y="758825"/>
              <a:ext cx="5422900" cy="5340350"/>
            </a:xfrm>
            <a:custGeom>
              <a:avLst/>
              <a:gdLst>
                <a:gd name="T0" fmla="*/ 1677 w 1702"/>
                <a:gd name="T1" fmla="*/ 664 h 1678"/>
                <a:gd name="T2" fmla="*/ 1350 w 1702"/>
                <a:gd name="T3" fmla="*/ 1001 h 1678"/>
                <a:gd name="T4" fmla="*/ 1416 w 1702"/>
                <a:gd name="T5" fmla="*/ 1466 h 1678"/>
                <a:gd name="T6" fmla="*/ 960 w 1702"/>
                <a:gd name="T7" fmla="*/ 1352 h 1678"/>
                <a:gd name="T8" fmla="*/ 590 w 1702"/>
                <a:gd name="T9" fmla="*/ 1642 h 1678"/>
                <a:gd name="T10" fmla="*/ 461 w 1702"/>
                <a:gd name="T11" fmla="*/ 1190 h 1678"/>
                <a:gd name="T12" fmla="*/ 25 w 1702"/>
                <a:gd name="T13" fmla="*/ 1014 h 1678"/>
                <a:gd name="T14" fmla="*/ 352 w 1702"/>
                <a:gd name="T15" fmla="*/ 677 h 1678"/>
                <a:gd name="T16" fmla="*/ 286 w 1702"/>
                <a:gd name="T17" fmla="*/ 212 h 1678"/>
                <a:gd name="T18" fmla="*/ 742 w 1702"/>
                <a:gd name="T19" fmla="*/ 326 h 1678"/>
                <a:gd name="T20" fmla="*/ 1112 w 1702"/>
                <a:gd name="T21" fmla="*/ 36 h 1678"/>
                <a:gd name="T22" fmla="*/ 1241 w 1702"/>
                <a:gd name="T23" fmla="*/ 488 h 1678"/>
                <a:gd name="T24" fmla="*/ 1677 w 1702"/>
                <a:gd name="T25" fmla="*/ 664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2" h="1678">
                  <a:moveTo>
                    <a:pt x="1677" y="664"/>
                  </a:moveTo>
                  <a:cubicBezTo>
                    <a:pt x="1702" y="785"/>
                    <a:pt x="1386" y="890"/>
                    <a:pt x="1350" y="1001"/>
                  </a:cubicBezTo>
                  <a:cubicBezTo>
                    <a:pt x="1312" y="1115"/>
                    <a:pt x="1505" y="1386"/>
                    <a:pt x="1416" y="1466"/>
                  </a:cubicBezTo>
                  <a:cubicBezTo>
                    <a:pt x="1330" y="1544"/>
                    <a:pt x="1082" y="1326"/>
                    <a:pt x="960" y="1352"/>
                  </a:cubicBezTo>
                  <a:cubicBezTo>
                    <a:pt x="838" y="1377"/>
                    <a:pt x="701" y="1678"/>
                    <a:pt x="590" y="1642"/>
                  </a:cubicBezTo>
                  <a:cubicBezTo>
                    <a:pt x="476" y="1605"/>
                    <a:pt x="542" y="1279"/>
                    <a:pt x="461" y="1190"/>
                  </a:cubicBezTo>
                  <a:cubicBezTo>
                    <a:pt x="384" y="1103"/>
                    <a:pt x="51" y="1136"/>
                    <a:pt x="25" y="1014"/>
                  </a:cubicBezTo>
                  <a:cubicBezTo>
                    <a:pt x="0" y="893"/>
                    <a:pt x="316" y="788"/>
                    <a:pt x="352" y="677"/>
                  </a:cubicBezTo>
                  <a:cubicBezTo>
                    <a:pt x="390" y="563"/>
                    <a:pt x="197" y="292"/>
                    <a:pt x="286" y="212"/>
                  </a:cubicBezTo>
                  <a:cubicBezTo>
                    <a:pt x="372" y="134"/>
                    <a:pt x="620" y="352"/>
                    <a:pt x="742" y="326"/>
                  </a:cubicBezTo>
                  <a:cubicBezTo>
                    <a:pt x="864" y="301"/>
                    <a:pt x="1001" y="0"/>
                    <a:pt x="1112" y="36"/>
                  </a:cubicBezTo>
                  <a:cubicBezTo>
                    <a:pt x="1226" y="73"/>
                    <a:pt x="1160" y="399"/>
                    <a:pt x="1241" y="488"/>
                  </a:cubicBezTo>
                  <a:cubicBezTo>
                    <a:pt x="1318" y="575"/>
                    <a:pt x="1651" y="542"/>
                    <a:pt x="1677" y="664"/>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10">
              <a:extLst>
                <a:ext uri="{FF2B5EF4-FFF2-40B4-BE49-F238E27FC236}">
                  <a16:creationId xmlns:a16="http://schemas.microsoft.com/office/drawing/2014/main" id="{06FC64C6-69A1-4AD7-AB5A-73DEFB20C058}"/>
                </a:ext>
              </a:extLst>
            </p:cNvPr>
            <p:cNvSpPr>
              <a:spLocks/>
            </p:cNvSpPr>
            <p:nvPr userDrawn="1"/>
          </p:nvSpPr>
          <p:spPr bwMode="auto">
            <a:xfrm>
              <a:off x="3398838" y="736600"/>
              <a:ext cx="5397500" cy="5384800"/>
            </a:xfrm>
            <a:custGeom>
              <a:avLst/>
              <a:gdLst>
                <a:gd name="T0" fmla="*/ 1662 w 1694"/>
                <a:gd name="T1" fmla="*/ 628 h 1692"/>
                <a:gd name="T2" fmla="*/ 1353 w 1694"/>
                <a:gd name="T3" fmla="*/ 981 h 1692"/>
                <a:gd name="T4" fmla="*/ 1444 w 1694"/>
                <a:gd name="T5" fmla="*/ 1443 h 1692"/>
                <a:gd name="T6" fmla="*/ 983 w 1694"/>
                <a:gd name="T7" fmla="*/ 1352 h 1692"/>
                <a:gd name="T8" fmla="*/ 628 w 1694"/>
                <a:gd name="T9" fmla="*/ 1661 h 1692"/>
                <a:gd name="T10" fmla="*/ 476 w 1694"/>
                <a:gd name="T11" fmla="*/ 1216 h 1692"/>
                <a:gd name="T12" fmla="*/ 32 w 1694"/>
                <a:gd name="T13" fmla="*/ 1064 h 1692"/>
                <a:gd name="T14" fmla="*/ 341 w 1694"/>
                <a:gd name="T15" fmla="*/ 711 h 1692"/>
                <a:gd name="T16" fmla="*/ 250 w 1694"/>
                <a:gd name="T17" fmla="*/ 249 h 1692"/>
                <a:gd name="T18" fmla="*/ 711 w 1694"/>
                <a:gd name="T19" fmla="*/ 340 h 1692"/>
                <a:gd name="T20" fmla="*/ 1066 w 1694"/>
                <a:gd name="T21" fmla="*/ 31 h 1692"/>
                <a:gd name="T22" fmla="*/ 1218 w 1694"/>
                <a:gd name="T23" fmla="*/ 476 h 1692"/>
                <a:gd name="T24" fmla="*/ 1662 w 1694"/>
                <a:gd name="T25" fmla="*/ 628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4" h="1692">
                  <a:moveTo>
                    <a:pt x="1662" y="628"/>
                  </a:moveTo>
                  <a:cubicBezTo>
                    <a:pt x="1694" y="748"/>
                    <a:pt x="1383" y="869"/>
                    <a:pt x="1353" y="981"/>
                  </a:cubicBezTo>
                  <a:cubicBezTo>
                    <a:pt x="1322" y="1097"/>
                    <a:pt x="1529" y="1358"/>
                    <a:pt x="1444" y="1443"/>
                  </a:cubicBezTo>
                  <a:cubicBezTo>
                    <a:pt x="1362" y="1525"/>
                    <a:pt x="1103" y="1320"/>
                    <a:pt x="983" y="1352"/>
                  </a:cubicBezTo>
                  <a:cubicBezTo>
                    <a:pt x="862" y="1384"/>
                    <a:pt x="741" y="1692"/>
                    <a:pt x="628" y="1661"/>
                  </a:cubicBezTo>
                  <a:cubicBezTo>
                    <a:pt x="513" y="1630"/>
                    <a:pt x="561" y="1301"/>
                    <a:pt x="476" y="1216"/>
                  </a:cubicBezTo>
                  <a:cubicBezTo>
                    <a:pt x="394" y="1134"/>
                    <a:pt x="64" y="1185"/>
                    <a:pt x="32" y="1064"/>
                  </a:cubicBezTo>
                  <a:cubicBezTo>
                    <a:pt x="0" y="944"/>
                    <a:pt x="311" y="823"/>
                    <a:pt x="341" y="711"/>
                  </a:cubicBezTo>
                  <a:cubicBezTo>
                    <a:pt x="372" y="595"/>
                    <a:pt x="165" y="334"/>
                    <a:pt x="250" y="249"/>
                  </a:cubicBezTo>
                  <a:cubicBezTo>
                    <a:pt x="332" y="167"/>
                    <a:pt x="591" y="372"/>
                    <a:pt x="711" y="340"/>
                  </a:cubicBezTo>
                  <a:cubicBezTo>
                    <a:pt x="832" y="308"/>
                    <a:pt x="953" y="0"/>
                    <a:pt x="1066" y="31"/>
                  </a:cubicBezTo>
                  <a:cubicBezTo>
                    <a:pt x="1181" y="62"/>
                    <a:pt x="1133" y="391"/>
                    <a:pt x="1218" y="476"/>
                  </a:cubicBezTo>
                  <a:cubicBezTo>
                    <a:pt x="1300" y="558"/>
                    <a:pt x="1630" y="507"/>
                    <a:pt x="1662" y="628"/>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Freeform 11">
              <a:extLst>
                <a:ext uri="{FF2B5EF4-FFF2-40B4-BE49-F238E27FC236}">
                  <a16:creationId xmlns:a16="http://schemas.microsoft.com/office/drawing/2014/main" id="{F23CD053-5D7A-47C6-90B3-999F8AC2D2C0}"/>
                </a:ext>
              </a:extLst>
            </p:cNvPr>
            <p:cNvSpPr>
              <a:spLocks/>
            </p:cNvSpPr>
            <p:nvPr userDrawn="1"/>
          </p:nvSpPr>
          <p:spPr bwMode="auto">
            <a:xfrm>
              <a:off x="3417888" y="723900"/>
              <a:ext cx="5359400" cy="5410200"/>
            </a:xfrm>
            <a:custGeom>
              <a:avLst/>
              <a:gdLst>
                <a:gd name="T0" fmla="*/ 1644 w 1682"/>
                <a:gd name="T1" fmla="*/ 589 h 1700"/>
                <a:gd name="T2" fmla="*/ 1354 w 1682"/>
                <a:gd name="T3" fmla="*/ 959 h 1700"/>
                <a:gd name="T4" fmla="*/ 1468 w 1682"/>
                <a:gd name="T5" fmla="*/ 1415 h 1700"/>
                <a:gd name="T6" fmla="*/ 1003 w 1682"/>
                <a:gd name="T7" fmla="*/ 1348 h 1700"/>
                <a:gd name="T8" fmla="*/ 665 w 1682"/>
                <a:gd name="T9" fmla="*/ 1676 h 1700"/>
                <a:gd name="T10" fmla="*/ 490 w 1682"/>
                <a:gd name="T11" fmla="*/ 1239 h 1700"/>
                <a:gd name="T12" fmla="*/ 38 w 1682"/>
                <a:gd name="T13" fmla="*/ 1111 h 1700"/>
                <a:gd name="T14" fmla="*/ 328 w 1682"/>
                <a:gd name="T15" fmla="*/ 741 h 1700"/>
                <a:gd name="T16" fmla="*/ 214 w 1682"/>
                <a:gd name="T17" fmla="*/ 285 h 1700"/>
                <a:gd name="T18" fmla="*/ 679 w 1682"/>
                <a:gd name="T19" fmla="*/ 352 h 1700"/>
                <a:gd name="T20" fmla="*/ 1017 w 1682"/>
                <a:gd name="T21" fmla="*/ 24 h 1700"/>
                <a:gd name="T22" fmla="*/ 1192 w 1682"/>
                <a:gd name="T23" fmla="*/ 461 h 1700"/>
                <a:gd name="T24" fmla="*/ 1644 w 1682"/>
                <a:gd name="T25" fmla="*/ 589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2" h="1700">
                  <a:moveTo>
                    <a:pt x="1644" y="589"/>
                  </a:moveTo>
                  <a:cubicBezTo>
                    <a:pt x="1682" y="708"/>
                    <a:pt x="1378" y="845"/>
                    <a:pt x="1354" y="959"/>
                  </a:cubicBezTo>
                  <a:cubicBezTo>
                    <a:pt x="1329" y="1076"/>
                    <a:pt x="1549" y="1326"/>
                    <a:pt x="1468" y="1415"/>
                  </a:cubicBezTo>
                  <a:cubicBezTo>
                    <a:pt x="1391" y="1501"/>
                    <a:pt x="1121" y="1310"/>
                    <a:pt x="1003" y="1348"/>
                  </a:cubicBezTo>
                  <a:cubicBezTo>
                    <a:pt x="884" y="1387"/>
                    <a:pt x="779" y="1700"/>
                    <a:pt x="665" y="1676"/>
                  </a:cubicBezTo>
                  <a:cubicBezTo>
                    <a:pt x="548" y="1651"/>
                    <a:pt x="579" y="1320"/>
                    <a:pt x="490" y="1239"/>
                  </a:cubicBezTo>
                  <a:cubicBezTo>
                    <a:pt x="404" y="1162"/>
                    <a:pt x="77" y="1229"/>
                    <a:pt x="38" y="1111"/>
                  </a:cubicBezTo>
                  <a:cubicBezTo>
                    <a:pt x="0" y="992"/>
                    <a:pt x="304" y="855"/>
                    <a:pt x="328" y="741"/>
                  </a:cubicBezTo>
                  <a:cubicBezTo>
                    <a:pt x="353" y="624"/>
                    <a:pt x="133" y="374"/>
                    <a:pt x="214" y="285"/>
                  </a:cubicBezTo>
                  <a:cubicBezTo>
                    <a:pt x="291" y="199"/>
                    <a:pt x="561" y="390"/>
                    <a:pt x="679" y="352"/>
                  </a:cubicBezTo>
                  <a:cubicBezTo>
                    <a:pt x="798" y="313"/>
                    <a:pt x="903" y="0"/>
                    <a:pt x="1017" y="24"/>
                  </a:cubicBezTo>
                  <a:cubicBezTo>
                    <a:pt x="1134" y="49"/>
                    <a:pt x="1103" y="380"/>
                    <a:pt x="1192" y="461"/>
                  </a:cubicBezTo>
                  <a:cubicBezTo>
                    <a:pt x="1278" y="538"/>
                    <a:pt x="1605" y="471"/>
                    <a:pt x="1644" y="589"/>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12">
              <a:extLst>
                <a:ext uri="{FF2B5EF4-FFF2-40B4-BE49-F238E27FC236}">
                  <a16:creationId xmlns:a16="http://schemas.microsoft.com/office/drawing/2014/main" id="{7ED9278C-2F04-451A-9CB2-F8A905B7CFB8}"/>
                </a:ext>
              </a:extLst>
            </p:cNvPr>
            <p:cNvSpPr>
              <a:spLocks/>
            </p:cNvSpPr>
            <p:nvPr userDrawn="1"/>
          </p:nvSpPr>
          <p:spPr bwMode="auto">
            <a:xfrm>
              <a:off x="3443288" y="717550"/>
              <a:ext cx="5308600" cy="5422900"/>
            </a:xfrm>
            <a:custGeom>
              <a:avLst/>
              <a:gdLst>
                <a:gd name="T0" fmla="*/ 1621 w 1666"/>
                <a:gd name="T1" fmla="*/ 550 h 1704"/>
                <a:gd name="T2" fmla="*/ 1351 w 1666"/>
                <a:gd name="T3" fmla="*/ 934 h 1704"/>
                <a:gd name="T4" fmla="*/ 1489 w 1666"/>
                <a:gd name="T5" fmla="*/ 1383 h 1704"/>
                <a:gd name="T6" fmla="*/ 1021 w 1666"/>
                <a:gd name="T7" fmla="*/ 1341 h 1704"/>
                <a:gd name="T8" fmla="*/ 701 w 1666"/>
                <a:gd name="T9" fmla="*/ 1686 h 1704"/>
                <a:gd name="T10" fmla="*/ 503 w 1666"/>
                <a:gd name="T11" fmla="*/ 1259 h 1704"/>
                <a:gd name="T12" fmla="*/ 45 w 1666"/>
                <a:gd name="T13" fmla="*/ 1154 h 1704"/>
                <a:gd name="T14" fmla="*/ 315 w 1666"/>
                <a:gd name="T15" fmla="*/ 770 h 1704"/>
                <a:gd name="T16" fmla="*/ 177 w 1666"/>
                <a:gd name="T17" fmla="*/ 321 h 1704"/>
                <a:gd name="T18" fmla="*/ 645 w 1666"/>
                <a:gd name="T19" fmla="*/ 363 h 1704"/>
                <a:gd name="T20" fmla="*/ 965 w 1666"/>
                <a:gd name="T21" fmla="*/ 18 h 1704"/>
                <a:gd name="T22" fmla="*/ 1163 w 1666"/>
                <a:gd name="T23" fmla="*/ 445 h 1704"/>
                <a:gd name="T24" fmla="*/ 1621 w 1666"/>
                <a:gd name="T25" fmla="*/ 550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6" h="1704">
                  <a:moveTo>
                    <a:pt x="1621" y="550"/>
                  </a:moveTo>
                  <a:cubicBezTo>
                    <a:pt x="1666" y="666"/>
                    <a:pt x="1369" y="819"/>
                    <a:pt x="1351" y="934"/>
                  </a:cubicBezTo>
                  <a:cubicBezTo>
                    <a:pt x="1332" y="1052"/>
                    <a:pt x="1564" y="1290"/>
                    <a:pt x="1489" y="1383"/>
                  </a:cubicBezTo>
                  <a:cubicBezTo>
                    <a:pt x="1416" y="1474"/>
                    <a:pt x="1137" y="1297"/>
                    <a:pt x="1021" y="1341"/>
                  </a:cubicBezTo>
                  <a:cubicBezTo>
                    <a:pt x="904" y="1386"/>
                    <a:pt x="816" y="1704"/>
                    <a:pt x="701" y="1686"/>
                  </a:cubicBezTo>
                  <a:cubicBezTo>
                    <a:pt x="582" y="1667"/>
                    <a:pt x="596" y="1335"/>
                    <a:pt x="503" y="1259"/>
                  </a:cubicBezTo>
                  <a:cubicBezTo>
                    <a:pt x="413" y="1186"/>
                    <a:pt x="90" y="1271"/>
                    <a:pt x="45" y="1154"/>
                  </a:cubicBezTo>
                  <a:cubicBezTo>
                    <a:pt x="0" y="1038"/>
                    <a:pt x="297" y="885"/>
                    <a:pt x="315" y="770"/>
                  </a:cubicBezTo>
                  <a:cubicBezTo>
                    <a:pt x="334" y="652"/>
                    <a:pt x="102" y="414"/>
                    <a:pt x="177" y="321"/>
                  </a:cubicBezTo>
                  <a:cubicBezTo>
                    <a:pt x="250" y="230"/>
                    <a:pt x="529" y="407"/>
                    <a:pt x="645" y="363"/>
                  </a:cubicBezTo>
                  <a:cubicBezTo>
                    <a:pt x="762" y="318"/>
                    <a:pt x="850" y="0"/>
                    <a:pt x="965" y="18"/>
                  </a:cubicBezTo>
                  <a:cubicBezTo>
                    <a:pt x="1084" y="37"/>
                    <a:pt x="1070" y="369"/>
                    <a:pt x="1163" y="445"/>
                  </a:cubicBezTo>
                  <a:cubicBezTo>
                    <a:pt x="1253" y="518"/>
                    <a:pt x="1576" y="433"/>
                    <a:pt x="1621" y="550"/>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3">
              <a:extLst>
                <a:ext uri="{FF2B5EF4-FFF2-40B4-BE49-F238E27FC236}">
                  <a16:creationId xmlns:a16="http://schemas.microsoft.com/office/drawing/2014/main" id="{FEC75980-95A1-46C2-85CD-FB6A01B3ED02}"/>
                </a:ext>
              </a:extLst>
            </p:cNvPr>
            <p:cNvSpPr>
              <a:spLocks/>
            </p:cNvSpPr>
            <p:nvPr userDrawn="1"/>
          </p:nvSpPr>
          <p:spPr bwMode="auto">
            <a:xfrm>
              <a:off x="3478213" y="717550"/>
              <a:ext cx="5238750" cy="5422900"/>
            </a:xfrm>
            <a:custGeom>
              <a:avLst/>
              <a:gdLst>
                <a:gd name="T0" fmla="*/ 1593 w 1644"/>
                <a:gd name="T1" fmla="*/ 509 h 1704"/>
                <a:gd name="T2" fmla="*/ 1343 w 1644"/>
                <a:gd name="T3" fmla="*/ 907 h 1704"/>
                <a:gd name="T4" fmla="*/ 1505 w 1644"/>
                <a:gd name="T5" fmla="*/ 1348 h 1704"/>
                <a:gd name="T6" fmla="*/ 1035 w 1644"/>
                <a:gd name="T7" fmla="*/ 1331 h 1704"/>
                <a:gd name="T8" fmla="*/ 734 w 1644"/>
                <a:gd name="T9" fmla="*/ 1691 h 1704"/>
                <a:gd name="T10" fmla="*/ 514 w 1644"/>
                <a:gd name="T11" fmla="*/ 1276 h 1704"/>
                <a:gd name="T12" fmla="*/ 51 w 1644"/>
                <a:gd name="T13" fmla="*/ 1195 h 1704"/>
                <a:gd name="T14" fmla="*/ 301 w 1644"/>
                <a:gd name="T15" fmla="*/ 797 h 1704"/>
                <a:gd name="T16" fmla="*/ 139 w 1644"/>
                <a:gd name="T17" fmla="*/ 356 h 1704"/>
                <a:gd name="T18" fmla="*/ 609 w 1644"/>
                <a:gd name="T19" fmla="*/ 373 h 1704"/>
                <a:gd name="T20" fmla="*/ 910 w 1644"/>
                <a:gd name="T21" fmla="*/ 13 h 1704"/>
                <a:gd name="T22" fmla="*/ 1130 w 1644"/>
                <a:gd name="T23" fmla="*/ 428 h 1704"/>
                <a:gd name="T24" fmla="*/ 1593 w 1644"/>
                <a:gd name="T25" fmla="*/ 509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4" h="1704">
                  <a:moveTo>
                    <a:pt x="1593" y="509"/>
                  </a:moveTo>
                  <a:cubicBezTo>
                    <a:pt x="1644" y="623"/>
                    <a:pt x="1356" y="791"/>
                    <a:pt x="1343" y="907"/>
                  </a:cubicBezTo>
                  <a:cubicBezTo>
                    <a:pt x="1331" y="1026"/>
                    <a:pt x="1575" y="1251"/>
                    <a:pt x="1505" y="1348"/>
                  </a:cubicBezTo>
                  <a:cubicBezTo>
                    <a:pt x="1437" y="1442"/>
                    <a:pt x="1149" y="1280"/>
                    <a:pt x="1035" y="1331"/>
                  </a:cubicBezTo>
                  <a:cubicBezTo>
                    <a:pt x="921" y="1381"/>
                    <a:pt x="849" y="1704"/>
                    <a:pt x="734" y="1691"/>
                  </a:cubicBezTo>
                  <a:cubicBezTo>
                    <a:pt x="614" y="1679"/>
                    <a:pt x="611" y="1346"/>
                    <a:pt x="514" y="1276"/>
                  </a:cubicBezTo>
                  <a:cubicBezTo>
                    <a:pt x="420" y="1208"/>
                    <a:pt x="102" y="1309"/>
                    <a:pt x="51" y="1195"/>
                  </a:cubicBezTo>
                  <a:cubicBezTo>
                    <a:pt x="0" y="1081"/>
                    <a:pt x="288" y="913"/>
                    <a:pt x="301" y="797"/>
                  </a:cubicBezTo>
                  <a:cubicBezTo>
                    <a:pt x="313" y="678"/>
                    <a:pt x="69" y="453"/>
                    <a:pt x="139" y="356"/>
                  </a:cubicBezTo>
                  <a:cubicBezTo>
                    <a:pt x="207" y="262"/>
                    <a:pt x="495" y="424"/>
                    <a:pt x="609" y="373"/>
                  </a:cubicBezTo>
                  <a:cubicBezTo>
                    <a:pt x="723" y="323"/>
                    <a:pt x="795" y="0"/>
                    <a:pt x="910" y="13"/>
                  </a:cubicBezTo>
                  <a:cubicBezTo>
                    <a:pt x="1030" y="25"/>
                    <a:pt x="1033" y="358"/>
                    <a:pt x="1130" y="428"/>
                  </a:cubicBezTo>
                  <a:cubicBezTo>
                    <a:pt x="1224" y="496"/>
                    <a:pt x="1542" y="395"/>
                    <a:pt x="1593" y="509"/>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4">
              <a:extLst>
                <a:ext uri="{FF2B5EF4-FFF2-40B4-BE49-F238E27FC236}">
                  <a16:creationId xmlns:a16="http://schemas.microsoft.com/office/drawing/2014/main" id="{2C670B2A-5BD8-43FF-B319-43186282CBC7}"/>
                </a:ext>
              </a:extLst>
            </p:cNvPr>
            <p:cNvSpPr>
              <a:spLocks/>
            </p:cNvSpPr>
            <p:nvPr userDrawn="1"/>
          </p:nvSpPr>
          <p:spPr bwMode="auto">
            <a:xfrm>
              <a:off x="3519488" y="727075"/>
              <a:ext cx="5156200" cy="5403850"/>
            </a:xfrm>
            <a:custGeom>
              <a:avLst/>
              <a:gdLst>
                <a:gd name="T0" fmla="*/ 1561 w 1618"/>
                <a:gd name="T1" fmla="*/ 466 h 1698"/>
                <a:gd name="T2" fmla="*/ 1332 w 1618"/>
                <a:gd name="T3" fmla="*/ 876 h 1698"/>
                <a:gd name="T4" fmla="*/ 1517 w 1618"/>
                <a:gd name="T5" fmla="*/ 1309 h 1698"/>
                <a:gd name="T6" fmla="*/ 1047 w 1618"/>
                <a:gd name="T7" fmla="*/ 1316 h 1698"/>
                <a:gd name="T8" fmla="*/ 765 w 1618"/>
                <a:gd name="T9" fmla="*/ 1692 h 1698"/>
                <a:gd name="T10" fmla="*/ 523 w 1618"/>
                <a:gd name="T11" fmla="*/ 1288 h 1698"/>
                <a:gd name="T12" fmla="*/ 57 w 1618"/>
                <a:gd name="T13" fmla="*/ 1232 h 1698"/>
                <a:gd name="T14" fmla="*/ 286 w 1618"/>
                <a:gd name="T15" fmla="*/ 822 h 1698"/>
                <a:gd name="T16" fmla="*/ 101 w 1618"/>
                <a:gd name="T17" fmla="*/ 389 h 1698"/>
                <a:gd name="T18" fmla="*/ 571 w 1618"/>
                <a:gd name="T19" fmla="*/ 382 h 1698"/>
                <a:gd name="T20" fmla="*/ 853 w 1618"/>
                <a:gd name="T21" fmla="*/ 6 h 1698"/>
                <a:gd name="T22" fmla="*/ 1095 w 1618"/>
                <a:gd name="T23" fmla="*/ 410 h 1698"/>
                <a:gd name="T24" fmla="*/ 1561 w 1618"/>
                <a:gd name="T25" fmla="*/ 466 h 1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8" h="1698">
                  <a:moveTo>
                    <a:pt x="1561" y="466"/>
                  </a:moveTo>
                  <a:cubicBezTo>
                    <a:pt x="1618" y="577"/>
                    <a:pt x="1339" y="760"/>
                    <a:pt x="1332" y="876"/>
                  </a:cubicBezTo>
                  <a:cubicBezTo>
                    <a:pt x="1326" y="996"/>
                    <a:pt x="1582" y="1208"/>
                    <a:pt x="1517" y="1309"/>
                  </a:cubicBezTo>
                  <a:cubicBezTo>
                    <a:pt x="1454" y="1406"/>
                    <a:pt x="1158" y="1259"/>
                    <a:pt x="1047" y="1316"/>
                  </a:cubicBezTo>
                  <a:cubicBezTo>
                    <a:pt x="936" y="1372"/>
                    <a:pt x="881" y="1698"/>
                    <a:pt x="765" y="1692"/>
                  </a:cubicBezTo>
                  <a:cubicBezTo>
                    <a:pt x="645" y="1686"/>
                    <a:pt x="624" y="1354"/>
                    <a:pt x="523" y="1288"/>
                  </a:cubicBezTo>
                  <a:cubicBezTo>
                    <a:pt x="426" y="1225"/>
                    <a:pt x="114" y="1343"/>
                    <a:pt x="57" y="1232"/>
                  </a:cubicBezTo>
                  <a:cubicBezTo>
                    <a:pt x="0" y="1121"/>
                    <a:pt x="279" y="938"/>
                    <a:pt x="286" y="822"/>
                  </a:cubicBezTo>
                  <a:cubicBezTo>
                    <a:pt x="292" y="702"/>
                    <a:pt x="36" y="490"/>
                    <a:pt x="101" y="389"/>
                  </a:cubicBezTo>
                  <a:cubicBezTo>
                    <a:pt x="164" y="292"/>
                    <a:pt x="460" y="439"/>
                    <a:pt x="571" y="382"/>
                  </a:cubicBezTo>
                  <a:cubicBezTo>
                    <a:pt x="682" y="326"/>
                    <a:pt x="737" y="0"/>
                    <a:pt x="853" y="6"/>
                  </a:cubicBezTo>
                  <a:cubicBezTo>
                    <a:pt x="973" y="12"/>
                    <a:pt x="994" y="344"/>
                    <a:pt x="1095" y="410"/>
                  </a:cubicBezTo>
                  <a:cubicBezTo>
                    <a:pt x="1192" y="473"/>
                    <a:pt x="1504" y="355"/>
                    <a:pt x="1561" y="466"/>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5">
              <a:extLst>
                <a:ext uri="{FF2B5EF4-FFF2-40B4-BE49-F238E27FC236}">
                  <a16:creationId xmlns:a16="http://schemas.microsoft.com/office/drawing/2014/main" id="{8918CAD1-3F9C-494A-8FF3-81F05D49BD5C}"/>
                </a:ext>
              </a:extLst>
            </p:cNvPr>
            <p:cNvSpPr>
              <a:spLocks/>
            </p:cNvSpPr>
            <p:nvPr userDrawn="1"/>
          </p:nvSpPr>
          <p:spPr bwMode="auto">
            <a:xfrm>
              <a:off x="3570288" y="742950"/>
              <a:ext cx="5054600" cy="5372100"/>
            </a:xfrm>
            <a:custGeom>
              <a:avLst/>
              <a:gdLst>
                <a:gd name="T0" fmla="*/ 1524 w 1586"/>
                <a:gd name="T1" fmla="*/ 422 h 1688"/>
                <a:gd name="T2" fmla="*/ 1317 w 1586"/>
                <a:gd name="T3" fmla="*/ 844 h 1688"/>
                <a:gd name="T4" fmla="*/ 1524 w 1586"/>
                <a:gd name="T5" fmla="*/ 1266 h 1688"/>
                <a:gd name="T6" fmla="*/ 1055 w 1586"/>
                <a:gd name="T7" fmla="*/ 1298 h 1688"/>
                <a:gd name="T8" fmla="*/ 793 w 1586"/>
                <a:gd name="T9" fmla="*/ 1688 h 1688"/>
                <a:gd name="T10" fmla="*/ 531 w 1586"/>
                <a:gd name="T11" fmla="*/ 1298 h 1688"/>
                <a:gd name="T12" fmla="*/ 62 w 1586"/>
                <a:gd name="T13" fmla="*/ 1266 h 1688"/>
                <a:gd name="T14" fmla="*/ 269 w 1586"/>
                <a:gd name="T15" fmla="*/ 844 h 1688"/>
                <a:gd name="T16" fmla="*/ 62 w 1586"/>
                <a:gd name="T17" fmla="*/ 422 h 1688"/>
                <a:gd name="T18" fmla="*/ 531 w 1586"/>
                <a:gd name="T19" fmla="*/ 390 h 1688"/>
                <a:gd name="T20" fmla="*/ 793 w 1586"/>
                <a:gd name="T21" fmla="*/ 0 h 1688"/>
                <a:gd name="T22" fmla="*/ 1055 w 1586"/>
                <a:gd name="T23" fmla="*/ 390 h 1688"/>
                <a:gd name="T24" fmla="*/ 1524 w 1586"/>
                <a:gd name="T25" fmla="*/ 422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6" h="1688">
                  <a:moveTo>
                    <a:pt x="1524" y="422"/>
                  </a:moveTo>
                  <a:cubicBezTo>
                    <a:pt x="1586" y="530"/>
                    <a:pt x="1317" y="728"/>
                    <a:pt x="1317" y="844"/>
                  </a:cubicBezTo>
                  <a:cubicBezTo>
                    <a:pt x="1317" y="964"/>
                    <a:pt x="1584" y="1162"/>
                    <a:pt x="1524" y="1266"/>
                  </a:cubicBezTo>
                  <a:cubicBezTo>
                    <a:pt x="1466" y="1367"/>
                    <a:pt x="1163" y="1235"/>
                    <a:pt x="1055" y="1298"/>
                  </a:cubicBezTo>
                  <a:cubicBezTo>
                    <a:pt x="947" y="1360"/>
                    <a:pt x="909" y="1688"/>
                    <a:pt x="793" y="1688"/>
                  </a:cubicBezTo>
                  <a:cubicBezTo>
                    <a:pt x="673" y="1688"/>
                    <a:pt x="635" y="1358"/>
                    <a:pt x="531" y="1298"/>
                  </a:cubicBezTo>
                  <a:cubicBezTo>
                    <a:pt x="430" y="1240"/>
                    <a:pt x="124" y="1374"/>
                    <a:pt x="62" y="1266"/>
                  </a:cubicBezTo>
                  <a:cubicBezTo>
                    <a:pt x="0" y="1158"/>
                    <a:pt x="269" y="960"/>
                    <a:pt x="269" y="844"/>
                  </a:cubicBezTo>
                  <a:cubicBezTo>
                    <a:pt x="269" y="724"/>
                    <a:pt x="2" y="526"/>
                    <a:pt x="62" y="422"/>
                  </a:cubicBezTo>
                  <a:cubicBezTo>
                    <a:pt x="120" y="321"/>
                    <a:pt x="423" y="453"/>
                    <a:pt x="531" y="390"/>
                  </a:cubicBezTo>
                  <a:cubicBezTo>
                    <a:pt x="639" y="328"/>
                    <a:pt x="677" y="0"/>
                    <a:pt x="793" y="0"/>
                  </a:cubicBezTo>
                  <a:cubicBezTo>
                    <a:pt x="913" y="0"/>
                    <a:pt x="951" y="330"/>
                    <a:pt x="1055" y="390"/>
                  </a:cubicBezTo>
                  <a:cubicBezTo>
                    <a:pt x="1156" y="448"/>
                    <a:pt x="1462" y="314"/>
                    <a:pt x="1524" y="422"/>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6">
              <a:extLst>
                <a:ext uri="{FF2B5EF4-FFF2-40B4-BE49-F238E27FC236}">
                  <a16:creationId xmlns:a16="http://schemas.microsoft.com/office/drawing/2014/main" id="{73C277BB-DFC3-4CD9-9DD4-1CE98D64F75E}"/>
                </a:ext>
              </a:extLst>
            </p:cNvPr>
            <p:cNvSpPr>
              <a:spLocks/>
            </p:cNvSpPr>
            <p:nvPr userDrawn="1"/>
          </p:nvSpPr>
          <p:spPr bwMode="auto">
            <a:xfrm>
              <a:off x="3525838" y="727075"/>
              <a:ext cx="5143500" cy="5403850"/>
            </a:xfrm>
            <a:custGeom>
              <a:avLst/>
              <a:gdLst>
                <a:gd name="T0" fmla="*/ 1515 w 1614"/>
                <a:gd name="T1" fmla="*/ 389 h 1698"/>
                <a:gd name="T2" fmla="*/ 1330 w 1614"/>
                <a:gd name="T3" fmla="*/ 821 h 1698"/>
                <a:gd name="T4" fmla="*/ 1559 w 1614"/>
                <a:gd name="T5" fmla="*/ 1232 h 1698"/>
                <a:gd name="T6" fmla="*/ 1092 w 1614"/>
                <a:gd name="T7" fmla="*/ 1288 h 1698"/>
                <a:gd name="T8" fmla="*/ 851 w 1614"/>
                <a:gd name="T9" fmla="*/ 1692 h 1698"/>
                <a:gd name="T10" fmla="*/ 569 w 1614"/>
                <a:gd name="T11" fmla="*/ 1316 h 1698"/>
                <a:gd name="T12" fmla="*/ 99 w 1614"/>
                <a:gd name="T13" fmla="*/ 1309 h 1698"/>
                <a:gd name="T14" fmla="*/ 284 w 1614"/>
                <a:gd name="T15" fmla="*/ 877 h 1698"/>
                <a:gd name="T16" fmla="*/ 55 w 1614"/>
                <a:gd name="T17" fmla="*/ 466 h 1698"/>
                <a:gd name="T18" fmla="*/ 522 w 1614"/>
                <a:gd name="T19" fmla="*/ 410 h 1698"/>
                <a:gd name="T20" fmla="*/ 763 w 1614"/>
                <a:gd name="T21" fmla="*/ 6 h 1698"/>
                <a:gd name="T22" fmla="*/ 1045 w 1614"/>
                <a:gd name="T23" fmla="*/ 382 h 1698"/>
                <a:gd name="T24" fmla="*/ 1515 w 1614"/>
                <a:gd name="T25" fmla="*/ 389 h 1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4" h="1698">
                  <a:moveTo>
                    <a:pt x="1515" y="389"/>
                  </a:moveTo>
                  <a:cubicBezTo>
                    <a:pt x="1583" y="494"/>
                    <a:pt x="1324" y="705"/>
                    <a:pt x="1330" y="821"/>
                  </a:cubicBezTo>
                  <a:cubicBezTo>
                    <a:pt x="1337" y="941"/>
                    <a:pt x="1614" y="1125"/>
                    <a:pt x="1559" y="1232"/>
                  </a:cubicBezTo>
                  <a:cubicBezTo>
                    <a:pt x="1506" y="1336"/>
                    <a:pt x="1197" y="1221"/>
                    <a:pt x="1092" y="1288"/>
                  </a:cubicBezTo>
                  <a:cubicBezTo>
                    <a:pt x="988" y="1356"/>
                    <a:pt x="967" y="1686"/>
                    <a:pt x="851" y="1692"/>
                  </a:cubicBezTo>
                  <a:cubicBezTo>
                    <a:pt x="731" y="1698"/>
                    <a:pt x="676" y="1370"/>
                    <a:pt x="569" y="1316"/>
                  </a:cubicBezTo>
                  <a:cubicBezTo>
                    <a:pt x="465" y="1263"/>
                    <a:pt x="167" y="1413"/>
                    <a:pt x="99" y="1309"/>
                  </a:cubicBezTo>
                  <a:cubicBezTo>
                    <a:pt x="31" y="1204"/>
                    <a:pt x="290" y="993"/>
                    <a:pt x="284" y="877"/>
                  </a:cubicBezTo>
                  <a:cubicBezTo>
                    <a:pt x="277" y="757"/>
                    <a:pt x="0" y="573"/>
                    <a:pt x="55" y="466"/>
                  </a:cubicBezTo>
                  <a:cubicBezTo>
                    <a:pt x="108" y="362"/>
                    <a:pt x="417" y="477"/>
                    <a:pt x="522" y="410"/>
                  </a:cubicBezTo>
                  <a:cubicBezTo>
                    <a:pt x="626" y="342"/>
                    <a:pt x="647" y="12"/>
                    <a:pt x="763" y="6"/>
                  </a:cubicBezTo>
                  <a:cubicBezTo>
                    <a:pt x="883" y="0"/>
                    <a:pt x="938" y="328"/>
                    <a:pt x="1045" y="382"/>
                  </a:cubicBezTo>
                  <a:cubicBezTo>
                    <a:pt x="1149" y="435"/>
                    <a:pt x="1447" y="285"/>
                    <a:pt x="1515" y="389"/>
                  </a:cubicBezTo>
                  <a:close/>
                </a:path>
              </a:pathLst>
            </a:custGeom>
            <a:noFill/>
            <a:ln w="31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Image with Title">
    <p:spTree>
      <p:nvGrpSpPr>
        <p:cNvPr id="1" name=""/>
        <p:cNvGrpSpPr/>
        <p:nvPr/>
      </p:nvGrpSpPr>
      <p:grpSpPr>
        <a:xfrm>
          <a:off x="0" y="0"/>
          <a:ext cx="0" cy="0"/>
          <a:chOff x="0" y="0"/>
          <a:chExt cx="0" cy="0"/>
        </a:xfrm>
      </p:grpSpPr>
      <p:sp>
        <p:nvSpPr>
          <p:cNvPr id="2" name="Picture Placeholder 4"/>
          <p:cNvSpPr>
            <a:spLocks noGrp="1"/>
          </p:cNvSpPr>
          <p:nvPr>
            <p:ph type="pic" sz="quarter" idx="10" hasCustomPrompt="1"/>
          </p:nvPr>
        </p:nvSpPr>
        <p:spPr>
          <a:xfrm>
            <a:off x="-1" y="0"/>
            <a:ext cx="12192001" cy="6858000"/>
          </a:xfrm>
        </p:spPr>
        <p:txBody>
          <a:bodyPr/>
          <a:lstStyle>
            <a:lvl1pPr marL="0" indent="0">
              <a:buNone/>
              <a:defRPr>
                <a:solidFill>
                  <a:schemeClr val="bg1"/>
                </a:solidFill>
              </a:defRPr>
            </a:lvl1pPr>
          </a:lstStyle>
          <a:p>
            <a:r>
              <a:rPr lang="en-US" dirty="0"/>
              <a:t>Image</a:t>
            </a:r>
          </a:p>
        </p:txBody>
      </p:sp>
      <p:pic>
        <p:nvPicPr>
          <p:cNvPr id="3" name="Picture 4" descr="https://www.micron.com/~/media/brand-portal/brand-portal-logos/micron-logo_white.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078584" y="6452752"/>
            <a:ext cx="839829" cy="2286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ph type="title" hasCustomPrompt="1"/>
          </p:nvPr>
        </p:nvSpPr>
        <p:spPr>
          <a:xfrm>
            <a:off x="310551" y="362309"/>
            <a:ext cx="5601239" cy="6038491"/>
          </a:xfrm>
        </p:spPr>
        <p:txBody>
          <a:bodyPr anchor="ctr">
            <a:noAutofit/>
          </a:bodyPr>
          <a:lstStyle>
            <a:lvl1pPr>
              <a:lnSpc>
                <a:spcPct val="70000"/>
              </a:lnSpc>
              <a:defRPr sz="6000" baseline="0">
                <a:solidFill>
                  <a:srgbClr val="58595B"/>
                </a:solidFill>
              </a:defRPr>
            </a:lvl1pPr>
          </a:lstStyle>
          <a:p>
            <a:r>
              <a:rPr lang="en-US" dirty="0"/>
              <a:t>Click to edit Master title (white font)</a:t>
            </a:r>
          </a:p>
        </p:txBody>
      </p:sp>
      <p:sp>
        <p:nvSpPr>
          <p:cNvPr id="5" name="Date Placeholder 4"/>
          <p:cNvSpPr>
            <a:spLocks noGrp="1"/>
          </p:cNvSpPr>
          <p:nvPr>
            <p:ph type="dt" sz="half" idx="11"/>
          </p:nvPr>
        </p:nvSpPr>
        <p:spPr/>
        <p:txBody>
          <a:bodyPr/>
          <a:lstStyle/>
          <a:p>
            <a:fld id="{FBD81F6B-C008-4C66-BD61-4BBE687FC954}" type="datetime4">
              <a:rPr lang="en-US" smtClean="0"/>
              <a:t>December 3, 2019</a:t>
            </a:fld>
            <a:endParaRPr lang="en-US" dirty="0"/>
          </a:p>
        </p:txBody>
      </p:sp>
      <p:sp>
        <p:nvSpPr>
          <p:cNvPr id="6" name="Footer Placeholder 5"/>
          <p:cNvSpPr>
            <a:spLocks noGrp="1"/>
          </p:cNvSpPr>
          <p:nvPr>
            <p:ph type="ftr" sz="quarter" idx="12"/>
          </p:nvPr>
        </p:nvSpPr>
        <p:spPr/>
        <p:txBody>
          <a:bodyPr/>
          <a:lstStyle/>
          <a:p>
            <a:r>
              <a:rPr lang="en-US"/>
              <a:t>Micron Confidential</a:t>
            </a:r>
            <a:endParaRPr lang="en-US" dirty="0"/>
          </a:p>
        </p:txBody>
      </p:sp>
      <p:sp>
        <p:nvSpPr>
          <p:cNvPr id="7" name="Slide Number Placeholder 6"/>
          <p:cNvSpPr>
            <a:spLocks noGrp="1"/>
          </p:cNvSpPr>
          <p:nvPr>
            <p:ph type="sldNum" sz="quarter" idx="13"/>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2959900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Image with 1/2 Content">
    <p:spTree>
      <p:nvGrpSpPr>
        <p:cNvPr id="1" name=""/>
        <p:cNvGrpSpPr/>
        <p:nvPr/>
      </p:nvGrpSpPr>
      <p:grpSpPr>
        <a:xfrm>
          <a:off x="0" y="0"/>
          <a:ext cx="0" cy="0"/>
          <a:chOff x="0" y="0"/>
          <a:chExt cx="0" cy="0"/>
        </a:xfrm>
      </p:grpSpPr>
      <p:sp>
        <p:nvSpPr>
          <p:cNvPr id="2" name="Picture Placeholder 4"/>
          <p:cNvSpPr>
            <a:spLocks noGrp="1"/>
          </p:cNvSpPr>
          <p:nvPr>
            <p:ph type="pic" sz="quarter" idx="10" hasCustomPrompt="1"/>
          </p:nvPr>
        </p:nvSpPr>
        <p:spPr>
          <a:xfrm>
            <a:off x="-1" y="0"/>
            <a:ext cx="12192001" cy="6858000"/>
          </a:xfrm>
        </p:spPr>
        <p:txBody>
          <a:bodyPr/>
          <a:lstStyle>
            <a:lvl1pPr marL="0" indent="0">
              <a:buNone/>
              <a:defRPr>
                <a:solidFill>
                  <a:schemeClr val="bg1"/>
                </a:solidFill>
              </a:defRPr>
            </a:lvl1pPr>
          </a:lstStyle>
          <a:p>
            <a:r>
              <a:rPr lang="en-US" dirty="0"/>
              <a:t>Image</a:t>
            </a:r>
          </a:p>
        </p:txBody>
      </p:sp>
      <p:pic>
        <p:nvPicPr>
          <p:cNvPr id="3" name="Picture 4" descr="https://www.micron.com/~/media/brand-portal/brand-portal-logos/micron-logo_white.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078584" y="6452752"/>
            <a:ext cx="839829" cy="2286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a:spLocks noGrp="1"/>
          </p:cNvSpPr>
          <p:nvPr>
            <p:ph type="title" hasCustomPrompt="1"/>
          </p:nvPr>
        </p:nvSpPr>
        <p:spPr>
          <a:xfrm>
            <a:off x="271461" y="3429000"/>
            <a:ext cx="5689391" cy="2983005"/>
          </a:xfrm>
        </p:spPr>
        <p:txBody>
          <a:bodyPr anchor="ctr">
            <a:noAutofit/>
          </a:bodyPr>
          <a:lstStyle>
            <a:lvl1pPr algn="r">
              <a:lnSpc>
                <a:spcPct val="70000"/>
              </a:lnSpc>
              <a:defRPr sz="6000" baseline="0">
                <a:solidFill>
                  <a:srgbClr val="58595B"/>
                </a:solidFill>
              </a:defRPr>
            </a:lvl1pPr>
          </a:lstStyle>
          <a:p>
            <a:r>
              <a:rPr lang="en-US" dirty="0"/>
              <a:t>Click to edit Master title (white font)</a:t>
            </a:r>
          </a:p>
        </p:txBody>
      </p:sp>
      <p:sp>
        <p:nvSpPr>
          <p:cNvPr id="6" name="Text Placeholder 4"/>
          <p:cNvSpPr>
            <a:spLocks noGrp="1"/>
          </p:cNvSpPr>
          <p:nvPr>
            <p:ph type="body" sz="quarter" idx="15"/>
          </p:nvPr>
        </p:nvSpPr>
        <p:spPr>
          <a:xfrm>
            <a:off x="6232314" y="3429000"/>
            <a:ext cx="5645362" cy="2983005"/>
          </a:xfrm>
        </p:spPr>
        <p:txBody>
          <a:bodyPr anchor="ctr"/>
          <a:lstStyle>
            <a:lvl1pPr>
              <a:buClr>
                <a:srgbClr val="0077C8"/>
              </a:buClr>
              <a:defRPr>
                <a:solidFill>
                  <a:srgbClr val="58595B"/>
                </a:solidFill>
              </a:defRPr>
            </a:lvl1pPr>
            <a:lvl2pPr>
              <a:buClr>
                <a:srgbClr val="0077C8"/>
              </a:buClr>
              <a:defRPr>
                <a:solidFill>
                  <a:srgbClr val="58595B"/>
                </a:solidFill>
              </a:defRPr>
            </a:lvl2pPr>
            <a:lvl3pPr>
              <a:buClr>
                <a:srgbClr val="0077C8"/>
              </a:buClr>
              <a:defRPr>
                <a:solidFill>
                  <a:srgbClr val="58595B"/>
                </a:solidFill>
              </a:defRPr>
            </a:lvl3pPr>
            <a:lvl4pPr>
              <a:buClr>
                <a:srgbClr val="0077C8"/>
              </a:buClr>
              <a:defRPr>
                <a:solidFill>
                  <a:srgbClr val="58595B"/>
                </a:solidFill>
              </a:defRPr>
            </a:lvl4pPr>
            <a:lvl5pPr>
              <a:buClr>
                <a:srgbClr val="0077C8"/>
              </a:buClr>
              <a:defRPr>
                <a:solidFill>
                  <a:srgbClr val="58595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6"/>
          </p:nvPr>
        </p:nvSpPr>
        <p:spPr/>
        <p:txBody>
          <a:bodyPr/>
          <a:lstStyle/>
          <a:p>
            <a:fld id="{FBD81F6B-C008-4C66-BD61-4BBE687FC954}" type="datetime4">
              <a:rPr lang="en-US" smtClean="0"/>
              <a:t>December 3, 2019</a:t>
            </a:fld>
            <a:endParaRPr lang="en-US" dirty="0"/>
          </a:p>
        </p:txBody>
      </p:sp>
      <p:sp>
        <p:nvSpPr>
          <p:cNvPr id="7" name="Footer Placeholder 6"/>
          <p:cNvSpPr>
            <a:spLocks noGrp="1"/>
          </p:cNvSpPr>
          <p:nvPr>
            <p:ph type="ftr" sz="quarter" idx="17"/>
          </p:nvPr>
        </p:nvSpPr>
        <p:spPr/>
        <p:txBody>
          <a:bodyPr/>
          <a:lstStyle/>
          <a:p>
            <a:r>
              <a:rPr lang="en-US"/>
              <a:t>Micron Confidential</a:t>
            </a:r>
            <a:endParaRPr lang="en-US" dirty="0"/>
          </a:p>
        </p:txBody>
      </p:sp>
      <p:sp>
        <p:nvSpPr>
          <p:cNvPr id="8" name="Slide Number Placeholder 7"/>
          <p:cNvSpPr>
            <a:spLocks noGrp="1"/>
          </p:cNvSpPr>
          <p:nvPr>
            <p:ph type="sldNum" sz="quarter" idx="18"/>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14047214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fld id="{B4093E5C-7864-407C-B367-5EB9F0C09B04}" type="datetime4">
              <a:rPr lang="en-US" smtClean="0"/>
              <a:t>December 3, 2019</a:t>
            </a:fld>
            <a:endParaRPr lang="en-US"/>
          </a:p>
        </p:txBody>
      </p:sp>
      <p:sp>
        <p:nvSpPr>
          <p:cNvPr id="6" name="Footer Placeholder 5"/>
          <p:cNvSpPr>
            <a:spLocks noGrp="1"/>
          </p:cNvSpPr>
          <p:nvPr>
            <p:ph type="ftr" sz="quarter" idx="11"/>
          </p:nvPr>
        </p:nvSpPr>
        <p:spPr/>
        <p:txBody>
          <a:bodyPr/>
          <a:lstStyle/>
          <a:p>
            <a:r>
              <a:rPr lang="en-US"/>
              <a:t>Micron Confidential</a:t>
            </a:r>
          </a:p>
        </p:txBody>
      </p:sp>
      <p:sp>
        <p:nvSpPr>
          <p:cNvPr id="7" name="Slide Number Placeholder 6"/>
          <p:cNvSpPr>
            <a:spLocks noGrp="1"/>
          </p:cNvSpPr>
          <p:nvPr>
            <p:ph type="sldNum" sz="quarter" idx="12"/>
          </p:nvPr>
        </p:nvSpPr>
        <p:spPr/>
        <p:txBody>
          <a:bodyPr/>
          <a:lstStyle/>
          <a:p>
            <a:fld id="{B7E7695C-FCF1-4AA0-9B93-7941FED13DC4}" type="slidenum">
              <a:rPr lang="en-US" smtClean="0"/>
              <a:t>‹#›</a:t>
            </a:fld>
            <a:endParaRPr lang="en-US"/>
          </a:p>
        </p:txBody>
      </p:sp>
      <p:sp>
        <p:nvSpPr>
          <p:cNvPr id="8" name="Content Placeholder 2"/>
          <p:cNvSpPr>
            <a:spLocks noGrp="1"/>
          </p:cNvSpPr>
          <p:nvPr>
            <p:ph sz="half" idx="1"/>
          </p:nvPr>
        </p:nvSpPr>
        <p:spPr>
          <a:xfrm>
            <a:off x="838200" y="1447800"/>
            <a:ext cx="5020340" cy="47291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sz="half" idx="14"/>
          </p:nvPr>
        </p:nvSpPr>
        <p:spPr>
          <a:xfrm>
            <a:off x="6333460" y="1447800"/>
            <a:ext cx="5020340" cy="47291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964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6407739F-E5A9-4C4E-9862-98AE093A9D7C}" type="datetime4">
              <a:rPr lang="en-US" smtClean="0"/>
              <a:t>December 3, 2019</a:t>
            </a:fld>
            <a:endParaRPr lang="en-US"/>
          </a:p>
        </p:txBody>
      </p:sp>
      <p:sp>
        <p:nvSpPr>
          <p:cNvPr id="6" name="Footer Placeholder 5"/>
          <p:cNvSpPr>
            <a:spLocks noGrp="1"/>
          </p:cNvSpPr>
          <p:nvPr>
            <p:ph type="ftr" sz="quarter" idx="11"/>
          </p:nvPr>
        </p:nvSpPr>
        <p:spPr/>
        <p:txBody>
          <a:bodyPr/>
          <a:lstStyle/>
          <a:p>
            <a:r>
              <a:rPr lang="en-US"/>
              <a:t>Micron Confidential</a:t>
            </a:r>
          </a:p>
        </p:txBody>
      </p:sp>
      <p:sp>
        <p:nvSpPr>
          <p:cNvPr id="7" name="Slide Number Placeholder 6"/>
          <p:cNvSpPr>
            <a:spLocks noGrp="1"/>
          </p:cNvSpPr>
          <p:nvPr>
            <p:ph type="sldNum" sz="quarter" idx="12"/>
          </p:nvPr>
        </p:nvSpPr>
        <p:spPr/>
        <p:txBody>
          <a:bodyPr/>
          <a:lstStyle/>
          <a:p>
            <a:fld id="{B7E7695C-FCF1-4AA0-9B93-7941FED13DC4}" type="slidenum">
              <a:rPr lang="en-US" smtClean="0"/>
              <a:t>‹#›</a:t>
            </a:fld>
            <a:endParaRPr lang="en-US"/>
          </a:p>
        </p:txBody>
      </p:sp>
      <p:sp>
        <p:nvSpPr>
          <p:cNvPr id="9" name="Content Placeholder 2"/>
          <p:cNvSpPr>
            <a:spLocks noGrp="1"/>
          </p:cNvSpPr>
          <p:nvPr>
            <p:ph sz="half" idx="1"/>
          </p:nvPr>
        </p:nvSpPr>
        <p:spPr>
          <a:xfrm>
            <a:off x="838200" y="1622702"/>
            <a:ext cx="5020340" cy="45542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sz="half" idx="14"/>
          </p:nvPr>
        </p:nvSpPr>
        <p:spPr>
          <a:xfrm>
            <a:off x="6333460" y="1622702"/>
            <a:ext cx="5020340" cy="45542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13"/>
          </p:nvPr>
        </p:nvSpPr>
        <p:spPr>
          <a:xfrm>
            <a:off x="838200" y="850504"/>
            <a:ext cx="10515600" cy="361950"/>
          </a:xfrm>
          <a:noFill/>
        </p:spPr>
        <p:txBody>
          <a:bodyPr anchor="ctr">
            <a:noAutofit/>
          </a:bodyPr>
          <a:lstStyle>
            <a:lvl1pPr marL="0" indent="0" algn="l">
              <a:buNone/>
              <a:defRPr sz="2000">
                <a:solidFill>
                  <a:srgbClr val="58595B"/>
                </a:solidFill>
              </a:defRPr>
            </a:lvl1pPr>
          </a:lstStyle>
          <a:p>
            <a:pPr lvl="0"/>
            <a:r>
              <a:rPr lang="en-US"/>
              <a:t>Edit Master text styles</a:t>
            </a:r>
          </a:p>
        </p:txBody>
      </p:sp>
    </p:spTree>
    <p:extLst>
      <p:ext uri="{BB962C8B-B14F-4D97-AF65-F5344CB8AC3E}">
        <p14:creationId xmlns:p14="http://schemas.microsoft.com/office/powerpoint/2010/main" val="426881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Blue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30261"/>
            <a:ext cx="5020340" cy="424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842B487-134E-4CC1-93B3-82A2499700CB}" type="datetime4">
              <a:rPr lang="en-US" smtClean="0"/>
              <a:t>December 3, 2019</a:t>
            </a:fld>
            <a:endParaRPr lang="en-US"/>
          </a:p>
        </p:txBody>
      </p:sp>
      <p:sp>
        <p:nvSpPr>
          <p:cNvPr id="6" name="Footer Placeholder 5"/>
          <p:cNvSpPr>
            <a:spLocks noGrp="1"/>
          </p:cNvSpPr>
          <p:nvPr>
            <p:ph type="ftr" sz="quarter" idx="11"/>
          </p:nvPr>
        </p:nvSpPr>
        <p:spPr/>
        <p:txBody>
          <a:bodyPr/>
          <a:lstStyle/>
          <a:p>
            <a:r>
              <a:rPr lang="en-US"/>
              <a:t>Micron Confidential</a:t>
            </a:r>
          </a:p>
        </p:txBody>
      </p:sp>
      <p:sp>
        <p:nvSpPr>
          <p:cNvPr id="7" name="Slide Number Placeholder 6"/>
          <p:cNvSpPr>
            <a:spLocks noGrp="1"/>
          </p:cNvSpPr>
          <p:nvPr>
            <p:ph type="sldNum" sz="quarter" idx="12"/>
          </p:nvPr>
        </p:nvSpPr>
        <p:spPr/>
        <p:txBody>
          <a:bodyPr/>
          <a:lstStyle/>
          <a:p>
            <a:fld id="{B7E7695C-FCF1-4AA0-9B93-7941FED13DC4}" type="slidenum">
              <a:rPr lang="en-US" smtClean="0"/>
              <a:t>‹#›</a:t>
            </a:fld>
            <a:endParaRPr lang="en-US"/>
          </a:p>
        </p:txBody>
      </p:sp>
      <p:sp>
        <p:nvSpPr>
          <p:cNvPr id="9" name="Text Placeholder 8"/>
          <p:cNvSpPr>
            <a:spLocks noGrp="1"/>
          </p:cNvSpPr>
          <p:nvPr>
            <p:ph type="body" sz="quarter" idx="13"/>
          </p:nvPr>
        </p:nvSpPr>
        <p:spPr>
          <a:xfrm>
            <a:off x="838200" y="1181100"/>
            <a:ext cx="5020340" cy="561975"/>
          </a:xfrm>
          <a:solidFill>
            <a:schemeClr val="accent1"/>
          </a:solidFill>
        </p:spPr>
        <p:txBody>
          <a:bodyPr anchor="ctr"/>
          <a:lstStyle>
            <a:lvl1pPr marL="0" indent="0" algn="ctr">
              <a:buNone/>
              <a:defRPr spc="0">
                <a:solidFill>
                  <a:schemeClr val="bg1"/>
                </a:solidFill>
              </a:defRPr>
            </a:lvl1pPr>
          </a:lstStyle>
          <a:p>
            <a:pPr lvl="0"/>
            <a:r>
              <a:rPr lang="en-US"/>
              <a:t>Edit Master text styles</a:t>
            </a:r>
          </a:p>
        </p:txBody>
      </p:sp>
      <p:sp>
        <p:nvSpPr>
          <p:cNvPr id="11" name="Content Placeholder 2"/>
          <p:cNvSpPr>
            <a:spLocks noGrp="1"/>
          </p:cNvSpPr>
          <p:nvPr>
            <p:ph sz="half" idx="14"/>
          </p:nvPr>
        </p:nvSpPr>
        <p:spPr>
          <a:xfrm>
            <a:off x="6333460" y="1930261"/>
            <a:ext cx="5020340" cy="424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5"/>
          </p:nvPr>
        </p:nvSpPr>
        <p:spPr>
          <a:xfrm>
            <a:off x="6333460" y="1181100"/>
            <a:ext cx="5020340" cy="561975"/>
          </a:xfrm>
          <a:solidFill>
            <a:schemeClr val="accent1"/>
          </a:solidFill>
        </p:spPr>
        <p:txBody>
          <a:bodyPr anchor="ctr"/>
          <a:lstStyle>
            <a:lvl1pPr marL="0" indent="0" algn="ctr">
              <a:buNone/>
              <a:defRPr spc="0">
                <a:solidFill>
                  <a:schemeClr val="bg1"/>
                </a:solidFill>
              </a:defRPr>
            </a:lvl1pPr>
          </a:lstStyle>
          <a:p>
            <a:pPr lvl="0"/>
            <a:r>
              <a:rPr lang="en-US"/>
              <a:t>Edit Master text styles</a:t>
            </a:r>
          </a:p>
        </p:txBody>
      </p:sp>
    </p:spTree>
    <p:extLst>
      <p:ext uri="{BB962C8B-B14F-4D97-AF65-F5344CB8AC3E}">
        <p14:creationId xmlns:p14="http://schemas.microsoft.com/office/powerpoint/2010/main" val="15971586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Blue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930261"/>
            <a:ext cx="3257550" cy="424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096250" y="1930261"/>
            <a:ext cx="3257550" cy="424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35D5931-D28E-49EC-9CBE-641A4D9DA4F7}" type="datetime4">
              <a:rPr lang="en-US" smtClean="0"/>
              <a:t>December 3, 2019</a:t>
            </a:fld>
            <a:endParaRPr lang="en-US"/>
          </a:p>
        </p:txBody>
      </p:sp>
      <p:sp>
        <p:nvSpPr>
          <p:cNvPr id="6" name="Footer Placeholder 5"/>
          <p:cNvSpPr>
            <a:spLocks noGrp="1"/>
          </p:cNvSpPr>
          <p:nvPr>
            <p:ph type="ftr" sz="quarter" idx="11"/>
          </p:nvPr>
        </p:nvSpPr>
        <p:spPr/>
        <p:txBody>
          <a:bodyPr/>
          <a:lstStyle/>
          <a:p>
            <a:r>
              <a:rPr lang="en-US"/>
              <a:t>Micron Confidential</a:t>
            </a:r>
          </a:p>
        </p:txBody>
      </p:sp>
      <p:sp>
        <p:nvSpPr>
          <p:cNvPr id="7" name="Slide Number Placeholder 6"/>
          <p:cNvSpPr>
            <a:spLocks noGrp="1"/>
          </p:cNvSpPr>
          <p:nvPr>
            <p:ph type="sldNum" sz="quarter" idx="12"/>
          </p:nvPr>
        </p:nvSpPr>
        <p:spPr/>
        <p:txBody>
          <a:bodyPr/>
          <a:lstStyle/>
          <a:p>
            <a:fld id="{B7E7695C-FCF1-4AA0-9B93-7941FED13DC4}" type="slidenum">
              <a:rPr lang="en-US" smtClean="0"/>
              <a:t>‹#›</a:t>
            </a:fld>
            <a:endParaRPr lang="en-US"/>
          </a:p>
        </p:txBody>
      </p:sp>
      <p:sp>
        <p:nvSpPr>
          <p:cNvPr id="9" name="Text Placeholder 8"/>
          <p:cNvSpPr>
            <a:spLocks noGrp="1"/>
          </p:cNvSpPr>
          <p:nvPr>
            <p:ph type="body" sz="quarter" idx="13"/>
          </p:nvPr>
        </p:nvSpPr>
        <p:spPr>
          <a:xfrm>
            <a:off x="838201" y="1181100"/>
            <a:ext cx="3257550" cy="561975"/>
          </a:xfrm>
          <a:solidFill>
            <a:schemeClr val="accent1"/>
          </a:solidFill>
        </p:spPr>
        <p:txBody>
          <a:bodyPr anchor="ctr"/>
          <a:lstStyle>
            <a:lvl1pPr marL="0" indent="0" algn="ctr">
              <a:buNone/>
              <a:defRPr spc="0">
                <a:solidFill>
                  <a:schemeClr val="bg1"/>
                </a:solidFill>
              </a:defRPr>
            </a:lvl1pPr>
          </a:lstStyle>
          <a:p>
            <a:pPr lvl="0"/>
            <a:r>
              <a:rPr lang="en-US"/>
              <a:t>Edit Master text styles</a:t>
            </a:r>
          </a:p>
        </p:txBody>
      </p:sp>
      <p:sp>
        <p:nvSpPr>
          <p:cNvPr id="10" name="Text Placeholder 8"/>
          <p:cNvSpPr>
            <a:spLocks noGrp="1"/>
          </p:cNvSpPr>
          <p:nvPr>
            <p:ph type="body" sz="quarter" idx="14"/>
          </p:nvPr>
        </p:nvSpPr>
        <p:spPr>
          <a:xfrm>
            <a:off x="8096250" y="1181100"/>
            <a:ext cx="3257550" cy="561975"/>
          </a:xfrm>
          <a:solidFill>
            <a:schemeClr val="accent1"/>
          </a:solidFill>
        </p:spPr>
        <p:txBody>
          <a:bodyPr anchor="ctr"/>
          <a:lstStyle>
            <a:lvl1pPr marL="0" indent="0" algn="ctr">
              <a:buNone/>
              <a:defRPr spc="0">
                <a:solidFill>
                  <a:schemeClr val="bg1"/>
                </a:solidFill>
              </a:defRPr>
            </a:lvl1pPr>
          </a:lstStyle>
          <a:p>
            <a:pPr lvl="0"/>
            <a:r>
              <a:rPr lang="en-US"/>
              <a:t>Edit Master text styles</a:t>
            </a:r>
          </a:p>
        </p:txBody>
      </p:sp>
      <p:sp>
        <p:nvSpPr>
          <p:cNvPr id="13" name="Content Placeholder 3"/>
          <p:cNvSpPr>
            <a:spLocks noGrp="1"/>
          </p:cNvSpPr>
          <p:nvPr>
            <p:ph sz="half" idx="15"/>
          </p:nvPr>
        </p:nvSpPr>
        <p:spPr>
          <a:xfrm>
            <a:off x="4467225" y="1930261"/>
            <a:ext cx="3257550" cy="424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p:cNvSpPr>
            <a:spLocks noGrp="1"/>
          </p:cNvSpPr>
          <p:nvPr>
            <p:ph type="body" sz="quarter" idx="16"/>
          </p:nvPr>
        </p:nvSpPr>
        <p:spPr>
          <a:xfrm>
            <a:off x="4467225" y="1181100"/>
            <a:ext cx="3257550" cy="561975"/>
          </a:xfrm>
          <a:solidFill>
            <a:schemeClr val="accent1"/>
          </a:solidFill>
        </p:spPr>
        <p:txBody>
          <a:bodyPr anchor="ctr"/>
          <a:lstStyle>
            <a:lvl1pPr marL="0" indent="0" algn="ctr">
              <a:buNone/>
              <a:defRPr spc="0">
                <a:solidFill>
                  <a:schemeClr val="bg1"/>
                </a:solidFill>
              </a:defRPr>
            </a:lvl1pPr>
          </a:lstStyle>
          <a:p>
            <a:pPr lvl="0"/>
            <a:r>
              <a:rPr lang="en-US"/>
              <a:t>Edit Master text styles</a:t>
            </a:r>
          </a:p>
        </p:txBody>
      </p:sp>
    </p:spTree>
    <p:extLst>
      <p:ext uri="{BB962C8B-B14F-4D97-AF65-F5344CB8AC3E}">
        <p14:creationId xmlns:p14="http://schemas.microsoft.com/office/powerpoint/2010/main" val="55522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62C7D8E-04EF-4276-93BE-9A54B0F3CC5E}" type="datetime4">
              <a:rPr lang="en-US" smtClean="0"/>
              <a:t>December 3, 2019</a:t>
            </a:fld>
            <a:endParaRPr lang="en-US"/>
          </a:p>
        </p:txBody>
      </p:sp>
      <p:sp>
        <p:nvSpPr>
          <p:cNvPr id="4" name="Footer Placeholder 3"/>
          <p:cNvSpPr>
            <a:spLocks noGrp="1"/>
          </p:cNvSpPr>
          <p:nvPr>
            <p:ph type="ftr" sz="quarter" idx="11"/>
          </p:nvPr>
        </p:nvSpPr>
        <p:spPr/>
        <p:txBody>
          <a:bodyPr/>
          <a:lstStyle/>
          <a:p>
            <a:r>
              <a:rPr lang="en-US"/>
              <a:t>Micron Confidential</a:t>
            </a:r>
          </a:p>
        </p:txBody>
      </p:sp>
      <p:sp>
        <p:nvSpPr>
          <p:cNvPr id="5" name="Slide Number Placeholder 4"/>
          <p:cNvSpPr>
            <a:spLocks noGrp="1"/>
          </p:cNvSpPr>
          <p:nvPr>
            <p:ph type="sldNum" sz="quarter" idx="12"/>
          </p:nvPr>
        </p:nvSpPr>
        <p:spPr/>
        <p:txBody>
          <a:bodyPr/>
          <a:lstStyle/>
          <a:p>
            <a:fld id="{B7E7695C-FCF1-4AA0-9B93-7941FED13DC4}" type="slidenum">
              <a:rPr lang="en-US" smtClean="0"/>
              <a:t>‹#›</a:t>
            </a:fld>
            <a:endParaRPr lang="en-US"/>
          </a:p>
        </p:txBody>
      </p:sp>
    </p:spTree>
    <p:extLst>
      <p:ext uri="{BB962C8B-B14F-4D97-AF65-F5344CB8AC3E}">
        <p14:creationId xmlns:p14="http://schemas.microsoft.com/office/powerpoint/2010/main" val="16501659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with Log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D81F6B-C008-4C66-BD61-4BBE687FC954}" type="datetime4">
              <a:rPr lang="en-US" smtClean="0"/>
              <a:t>December 3, 2019</a:t>
            </a:fld>
            <a:endParaRPr lang="en-US" dirty="0"/>
          </a:p>
        </p:txBody>
      </p:sp>
      <p:sp>
        <p:nvSpPr>
          <p:cNvPr id="3" name="Footer Placeholder 2"/>
          <p:cNvSpPr>
            <a:spLocks noGrp="1"/>
          </p:cNvSpPr>
          <p:nvPr>
            <p:ph type="ftr" sz="quarter" idx="11"/>
          </p:nvPr>
        </p:nvSpPr>
        <p:spPr/>
        <p:txBody>
          <a:bodyPr/>
          <a:lstStyle/>
          <a:p>
            <a:r>
              <a:rPr lang="en-US"/>
              <a:t>Micron Confidential</a:t>
            </a:r>
            <a:endParaRPr lang="en-US" dirty="0"/>
          </a:p>
        </p:txBody>
      </p:sp>
      <p:sp>
        <p:nvSpPr>
          <p:cNvPr id="4" name="Slide Number Placeholder 3"/>
          <p:cNvSpPr>
            <a:spLocks noGrp="1"/>
          </p:cNvSpPr>
          <p:nvPr>
            <p:ph type="sldNum" sz="quarter" idx="12"/>
          </p:nvPr>
        </p:nvSpPr>
        <p:spPr/>
        <p:txBody>
          <a:bodyPr/>
          <a:lstStyle/>
          <a:p>
            <a:fld id="{B7E7695C-FCF1-4AA0-9B93-7941FED13DC4}" type="slidenum">
              <a:rPr lang="en-US" smtClean="0"/>
              <a:pPr/>
              <a:t>‹#›</a:t>
            </a:fld>
            <a:endParaRPr lang="en-US" dirty="0"/>
          </a:p>
        </p:txBody>
      </p:sp>
    </p:spTree>
    <p:extLst>
      <p:ext uri="{BB962C8B-B14F-4D97-AF65-F5344CB8AC3E}">
        <p14:creationId xmlns:p14="http://schemas.microsoft.com/office/powerpoint/2010/main" val="35936805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Closing Blue">
    <p:bg>
      <p:bgPr>
        <a:solidFill>
          <a:schemeClr val="accent1"/>
        </a:solidFill>
        <a:effectLst/>
      </p:bgPr>
    </p:bg>
    <p:spTree>
      <p:nvGrpSpPr>
        <p:cNvPr id="1" name=""/>
        <p:cNvGrpSpPr/>
        <p:nvPr/>
      </p:nvGrpSpPr>
      <p:grpSpPr>
        <a:xfrm>
          <a:off x="0" y="0"/>
          <a:ext cx="0" cy="0"/>
          <a:chOff x="0" y="0"/>
          <a:chExt cx="0" cy="0"/>
        </a:xfrm>
      </p:grpSpPr>
      <p:pic>
        <p:nvPicPr>
          <p:cNvPr id="3" name="Picture 4" descr="https://www.micron.com/~/media/brand-portal/brand-portal-logos/micron-logo_white.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799088" y="2805542"/>
            <a:ext cx="4572000" cy="1244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0794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Closing White">
    <p:spTree>
      <p:nvGrpSpPr>
        <p:cNvPr id="1" name=""/>
        <p:cNvGrpSpPr/>
        <p:nvPr/>
      </p:nvGrpSpPr>
      <p:grpSpPr>
        <a:xfrm>
          <a:off x="0" y="0"/>
          <a:ext cx="0" cy="0"/>
          <a:chOff x="0" y="0"/>
          <a:chExt cx="0" cy="0"/>
        </a:xfrm>
      </p:grpSpPr>
      <p:pic>
        <p:nvPicPr>
          <p:cNvPr id="3" name="Picture 2" descr="https://www.micron.com/~/media/brand-portal/brand-portal-logos/micron-logo_blue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810000" y="2806755"/>
            <a:ext cx="4572000" cy="1244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0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2/3</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cron Colo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BF420C9-E3A0-4192-ACC4-920368377286}" type="datetime4">
              <a:rPr lang="en-US" smtClean="0"/>
              <a:t>December 3, 2019</a:t>
            </a:fld>
            <a:endParaRPr lang="en-US"/>
          </a:p>
        </p:txBody>
      </p:sp>
      <p:sp>
        <p:nvSpPr>
          <p:cNvPr id="4" name="Footer Placeholder 3"/>
          <p:cNvSpPr>
            <a:spLocks noGrp="1"/>
          </p:cNvSpPr>
          <p:nvPr>
            <p:ph type="ftr" sz="quarter" idx="11"/>
          </p:nvPr>
        </p:nvSpPr>
        <p:spPr/>
        <p:txBody>
          <a:bodyPr/>
          <a:lstStyle/>
          <a:p>
            <a:r>
              <a:rPr lang="en-US"/>
              <a:t>Micron Confidential</a:t>
            </a:r>
          </a:p>
        </p:txBody>
      </p:sp>
      <p:sp>
        <p:nvSpPr>
          <p:cNvPr id="5" name="Slide Number Placeholder 4"/>
          <p:cNvSpPr>
            <a:spLocks noGrp="1"/>
          </p:cNvSpPr>
          <p:nvPr>
            <p:ph type="sldNum" sz="quarter" idx="12"/>
          </p:nvPr>
        </p:nvSpPr>
        <p:spPr/>
        <p:txBody>
          <a:bodyPr/>
          <a:lstStyle/>
          <a:p>
            <a:fld id="{B7E7695C-FCF1-4AA0-9B93-7941FED13DC4}" type="slidenum">
              <a:rPr lang="en-US" smtClean="0"/>
              <a:t>‹#›</a:t>
            </a:fld>
            <a:endParaRPr lang="en-US" dirty="0"/>
          </a:p>
        </p:txBody>
      </p:sp>
      <p:sp>
        <p:nvSpPr>
          <p:cNvPr id="27" name="TextBox 26"/>
          <p:cNvSpPr txBox="1"/>
          <p:nvPr userDrawn="1"/>
        </p:nvSpPr>
        <p:spPr>
          <a:xfrm>
            <a:off x="4786904" y="919778"/>
            <a:ext cx="6542586" cy="1421928"/>
          </a:xfrm>
          <a:prstGeom prst="rect">
            <a:avLst/>
          </a:prstGeom>
          <a:noFill/>
        </p:spPr>
        <p:txBody>
          <a:bodyPr wrap="square" rtlCol="0">
            <a:spAutoFit/>
          </a:bodyPr>
          <a:lstStyle/>
          <a:p>
            <a:pPr>
              <a:lnSpc>
                <a:spcPct val="80000"/>
              </a:lnSpc>
            </a:pPr>
            <a:r>
              <a:rPr lang="en-US" sz="5400" b="1" spc="-300" dirty="0">
                <a:latin typeface="+mj-lt"/>
              </a:rPr>
              <a:t>Micron Brand </a:t>
            </a:r>
            <a:br>
              <a:rPr lang="en-US" sz="5400" b="1" spc="-300" dirty="0">
                <a:latin typeface="+mj-lt"/>
              </a:rPr>
            </a:br>
            <a:r>
              <a:rPr lang="en-US" sz="5400" b="1" spc="-300" dirty="0">
                <a:latin typeface="+mj-lt"/>
              </a:rPr>
              <a:t>2.0 Colors (RGB)</a:t>
            </a:r>
          </a:p>
        </p:txBody>
      </p:sp>
      <p:sp>
        <p:nvSpPr>
          <p:cNvPr id="28" name="Rectangle 27"/>
          <p:cNvSpPr/>
          <p:nvPr userDrawn="1"/>
        </p:nvSpPr>
        <p:spPr>
          <a:xfrm>
            <a:off x="578581" y="949291"/>
            <a:ext cx="1199034" cy="1199034"/>
          </a:xfrm>
          <a:prstGeom prst="rect">
            <a:avLst/>
          </a:prstGeom>
          <a:solidFill>
            <a:srgbClr val="007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Micron Blue</a:t>
            </a:r>
          </a:p>
          <a:p>
            <a:pPr algn="ctr"/>
            <a:r>
              <a:rPr lang="en-US" sz="1400" b="1" dirty="0">
                <a:latin typeface="+mn-lt"/>
                <a:ea typeface="Segoe UI" panose="020B0502040204020203" pitchFamily="34" charset="0"/>
                <a:cs typeface="Segoe UI" panose="020B0502040204020203" pitchFamily="34" charset="0"/>
              </a:rPr>
              <a:t>0-119-200</a:t>
            </a:r>
          </a:p>
        </p:txBody>
      </p:sp>
      <p:sp>
        <p:nvSpPr>
          <p:cNvPr id="29" name="Rectangle 28"/>
          <p:cNvSpPr/>
          <p:nvPr userDrawn="1"/>
        </p:nvSpPr>
        <p:spPr>
          <a:xfrm>
            <a:off x="578581" y="3492223"/>
            <a:ext cx="1199034" cy="1199034"/>
          </a:xfrm>
          <a:prstGeom prst="rect">
            <a:avLst/>
          </a:prstGeom>
          <a:solidFill>
            <a:srgbClr val="5859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ay</a:t>
            </a:r>
            <a:br>
              <a:rPr lang="en-US" sz="1400" dirty="0">
                <a:latin typeface="+mn-lt"/>
                <a:ea typeface="Segoe UI" panose="020B0502040204020203" pitchFamily="34" charset="0"/>
                <a:cs typeface="Segoe UI" panose="020B0502040204020203" pitchFamily="34" charset="0"/>
              </a:rPr>
            </a:br>
            <a:r>
              <a:rPr lang="en-US" sz="1400" b="1" dirty="0">
                <a:latin typeface="+mn-lt"/>
                <a:ea typeface="Segoe UI" panose="020B0502040204020203" pitchFamily="34" charset="0"/>
                <a:cs typeface="Segoe UI" panose="020B0502040204020203" pitchFamily="34" charset="0"/>
              </a:rPr>
              <a:t>88-89-91</a:t>
            </a:r>
          </a:p>
        </p:txBody>
      </p:sp>
      <p:sp>
        <p:nvSpPr>
          <p:cNvPr id="30" name="Rectangle 29"/>
          <p:cNvSpPr/>
          <p:nvPr userDrawn="1"/>
        </p:nvSpPr>
        <p:spPr>
          <a:xfrm>
            <a:off x="578581" y="2220757"/>
            <a:ext cx="1199034" cy="1199034"/>
          </a:xfrm>
          <a:prstGeom prst="rect">
            <a:avLst/>
          </a:prstGeom>
          <a:solidFill>
            <a:srgbClr val="009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Blue S1</a:t>
            </a:r>
          </a:p>
          <a:p>
            <a:pPr algn="ctr"/>
            <a:r>
              <a:rPr lang="en-US" sz="1400" b="1" dirty="0">
                <a:latin typeface="+mn-lt"/>
                <a:ea typeface="Segoe UI" panose="020B0502040204020203" pitchFamily="34" charset="0"/>
                <a:cs typeface="Segoe UI" panose="020B0502040204020203" pitchFamily="34" charset="0"/>
              </a:rPr>
              <a:t>0-144-218</a:t>
            </a:r>
          </a:p>
        </p:txBody>
      </p:sp>
      <p:sp>
        <p:nvSpPr>
          <p:cNvPr id="31" name="Rectangle 30"/>
          <p:cNvSpPr/>
          <p:nvPr userDrawn="1"/>
        </p:nvSpPr>
        <p:spPr>
          <a:xfrm>
            <a:off x="1856658" y="2229966"/>
            <a:ext cx="1199034" cy="1199034"/>
          </a:xfrm>
          <a:prstGeom prst="rect">
            <a:avLst/>
          </a:prstGeom>
          <a:solidFill>
            <a:srgbClr val="00A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Blue S2</a:t>
            </a:r>
          </a:p>
          <a:p>
            <a:pPr algn="ctr"/>
            <a:r>
              <a:rPr lang="en-US" sz="1400" b="1" dirty="0">
                <a:latin typeface="+mn-lt"/>
                <a:ea typeface="Segoe UI" panose="020B0502040204020203" pitchFamily="34" charset="0"/>
                <a:cs typeface="Segoe UI" panose="020B0502040204020203" pitchFamily="34" charset="0"/>
              </a:rPr>
              <a:t>0-163-225</a:t>
            </a:r>
          </a:p>
        </p:txBody>
      </p:sp>
      <p:sp>
        <p:nvSpPr>
          <p:cNvPr id="32" name="Rectangle 31"/>
          <p:cNvSpPr/>
          <p:nvPr userDrawn="1"/>
        </p:nvSpPr>
        <p:spPr>
          <a:xfrm>
            <a:off x="3134735" y="2229966"/>
            <a:ext cx="1199034" cy="1199034"/>
          </a:xfrm>
          <a:prstGeom prst="rect">
            <a:avLst/>
          </a:prstGeom>
          <a:solidFill>
            <a:srgbClr val="71C5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Blue S3</a:t>
            </a:r>
          </a:p>
          <a:p>
            <a:pPr algn="ctr"/>
            <a:r>
              <a:rPr lang="en-US" sz="1400" b="1" dirty="0">
                <a:latin typeface="+mn-lt"/>
                <a:ea typeface="Segoe UI" panose="020B0502040204020203" pitchFamily="34" charset="0"/>
                <a:cs typeface="Segoe UI" panose="020B0502040204020203" pitchFamily="34" charset="0"/>
              </a:rPr>
              <a:t>113-197-232</a:t>
            </a:r>
          </a:p>
        </p:txBody>
      </p:sp>
      <p:sp>
        <p:nvSpPr>
          <p:cNvPr id="33" name="Rectangle 32"/>
          <p:cNvSpPr/>
          <p:nvPr userDrawn="1"/>
        </p:nvSpPr>
        <p:spPr>
          <a:xfrm>
            <a:off x="578581" y="4770016"/>
            <a:ext cx="1199034" cy="1199034"/>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ay S1</a:t>
            </a:r>
          </a:p>
          <a:p>
            <a:pPr algn="ctr"/>
            <a:r>
              <a:rPr lang="en-US" sz="1400" b="1" dirty="0">
                <a:latin typeface="+mn-lt"/>
                <a:ea typeface="Segoe UI" panose="020B0502040204020203" pitchFamily="34" charset="0"/>
                <a:cs typeface="Segoe UI" panose="020B0502040204020203" pitchFamily="34" charset="0"/>
              </a:rPr>
              <a:t>128-130-133</a:t>
            </a:r>
          </a:p>
        </p:txBody>
      </p:sp>
      <p:sp>
        <p:nvSpPr>
          <p:cNvPr id="34" name="Rectangle 33"/>
          <p:cNvSpPr/>
          <p:nvPr userDrawn="1"/>
        </p:nvSpPr>
        <p:spPr>
          <a:xfrm>
            <a:off x="1856658" y="4770016"/>
            <a:ext cx="1199034" cy="1199034"/>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ay S2</a:t>
            </a:r>
          </a:p>
          <a:p>
            <a:pPr algn="ctr"/>
            <a:r>
              <a:rPr lang="en-US" sz="1400" b="1" dirty="0">
                <a:latin typeface="+mn-lt"/>
                <a:ea typeface="Segoe UI" panose="020B0502040204020203" pitchFamily="34" charset="0"/>
                <a:cs typeface="Segoe UI" panose="020B0502040204020203" pitchFamily="34" charset="0"/>
              </a:rPr>
              <a:t>167-169-172</a:t>
            </a:r>
          </a:p>
        </p:txBody>
      </p:sp>
      <p:sp>
        <p:nvSpPr>
          <p:cNvPr id="35" name="Rectangle 34"/>
          <p:cNvSpPr/>
          <p:nvPr userDrawn="1"/>
        </p:nvSpPr>
        <p:spPr>
          <a:xfrm>
            <a:off x="3134735" y="4770016"/>
            <a:ext cx="1199034" cy="1199034"/>
          </a:xfrm>
          <a:prstGeom prst="rect">
            <a:avLst/>
          </a:prstGeom>
          <a:solidFill>
            <a:srgbClr val="D1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ay S3</a:t>
            </a:r>
          </a:p>
          <a:p>
            <a:pPr algn="ctr"/>
            <a:r>
              <a:rPr lang="en-US" sz="1400" b="1" dirty="0">
                <a:latin typeface="+mn-lt"/>
                <a:ea typeface="Segoe UI" panose="020B0502040204020203" pitchFamily="34" charset="0"/>
                <a:cs typeface="Segoe UI" panose="020B0502040204020203" pitchFamily="34" charset="0"/>
              </a:rPr>
              <a:t>209-211-212</a:t>
            </a:r>
          </a:p>
        </p:txBody>
      </p:sp>
      <p:sp>
        <p:nvSpPr>
          <p:cNvPr id="36" name="Rectangle 35"/>
          <p:cNvSpPr/>
          <p:nvPr userDrawn="1"/>
        </p:nvSpPr>
        <p:spPr>
          <a:xfrm>
            <a:off x="4868920" y="3416363"/>
            <a:ext cx="1199034" cy="806863"/>
          </a:xfrm>
          <a:prstGeom prst="rect">
            <a:avLst/>
          </a:prstGeom>
          <a:solidFill>
            <a:srgbClr val="9AC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een A1</a:t>
            </a:r>
          </a:p>
          <a:p>
            <a:pPr algn="ctr"/>
            <a:r>
              <a:rPr lang="en-US" sz="1400" b="1" dirty="0">
                <a:latin typeface="+mn-lt"/>
                <a:ea typeface="Segoe UI" panose="020B0502040204020203" pitchFamily="34" charset="0"/>
                <a:cs typeface="Segoe UI" panose="020B0502040204020203" pitchFamily="34" charset="0"/>
              </a:rPr>
              <a:t>154-202-60</a:t>
            </a:r>
          </a:p>
        </p:txBody>
      </p:sp>
      <p:sp>
        <p:nvSpPr>
          <p:cNvPr id="37" name="Rectangle 36"/>
          <p:cNvSpPr/>
          <p:nvPr userDrawn="1"/>
        </p:nvSpPr>
        <p:spPr>
          <a:xfrm>
            <a:off x="6150321" y="3416365"/>
            <a:ext cx="1199034" cy="806863"/>
          </a:xfrm>
          <a:prstGeom prst="rect">
            <a:avLst/>
          </a:prstGeom>
          <a:solidFill>
            <a:srgbClr val="B7D4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Green A2</a:t>
            </a:r>
          </a:p>
          <a:p>
            <a:pPr algn="ctr"/>
            <a:r>
              <a:rPr lang="en-US" sz="1400" b="1" dirty="0">
                <a:latin typeface="+mn-lt"/>
                <a:ea typeface="Segoe UI" panose="020B0502040204020203" pitchFamily="34" charset="0"/>
                <a:cs typeface="Segoe UI" panose="020B0502040204020203" pitchFamily="34" charset="0"/>
              </a:rPr>
              <a:t>183-212-51</a:t>
            </a:r>
          </a:p>
        </p:txBody>
      </p:sp>
      <p:sp>
        <p:nvSpPr>
          <p:cNvPr id="38" name="Rectangle 37"/>
          <p:cNvSpPr/>
          <p:nvPr userDrawn="1"/>
        </p:nvSpPr>
        <p:spPr>
          <a:xfrm>
            <a:off x="4868915" y="4294324"/>
            <a:ext cx="1199034" cy="806863"/>
          </a:xfrm>
          <a:prstGeom prst="rect">
            <a:avLst/>
          </a:pr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Amber A1</a:t>
            </a:r>
          </a:p>
          <a:p>
            <a:pPr algn="ctr"/>
            <a:r>
              <a:rPr lang="en-US" sz="1400" b="1" dirty="0">
                <a:latin typeface="+mn-lt"/>
                <a:ea typeface="Segoe UI" panose="020B0502040204020203" pitchFamily="34" charset="0"/>
                <a:cs typeface="Segoe UI" panose="020B0502040204020203" pitchFamily="34" charset="0"/>
              </a:rPr>
              <a:t>255-181-0</a:t>
            </a:r>
          </a:p>
        </p:txBody>
      </p:sp>
      <p:sp>
        <p:nvSpPr>
          <p:cNvPr id="39" name="Rectangle 38"/>
          <p:cNvSpPr/>
          <p:nvPr userDrawn="1"/>
        </p:nvSpPr>
        <p:spPr>
          <a:xfrm>
            <a:off x="6150315" y="4294324"/>
            <a:ext cx="1199034" cy="806863"/>
          </a:xfrm>
          <a:prstGeom prst="rect">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Amber A2</a:t>
            </a:r>
          </a:p>
          <a:p>
            <a:pPr algn="ctr"/>
            <a:r>
              <a:rPr lang="en-US" sz="1400" b="1" dirty="0">
                <a:latin typeface="+mn-lt"/>
                <a:ea typeface="Segoe UI" panose="020B0502040204020203" pitchFamily="34" charset="0"/>
                <a:cs typeface="Segoe UI" panose="020B0502040204020203" pitchFamily="34" charset="0"/>
              </a:rPr>
              <a:t>255-205-0</a:t>
            </a:r>
          </a:p>
        </p:txBody>
      </p:sp>
      <p:sp>
        <p:nvSpPr>
          <p:cNvPr id="40" name="Rectangle 39"/>
          <p:cNvSpPr/>
          <p:nvPr userDrawn="1"/>
        </p:nvSpPr>
        <p:spPr>
          <a:xfrm>
            <a:off x="4865846" y="5168685"/>
            <a:ext cx="1199034" cy="806863"/>
          </a:xfrm>
          <a:prstGeom prst="rect">
            <a:avLst/>
          </a:prstGeom>
          <a:solidFill>
            <a:srgbClr val="873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Purple A1</a:t>
            </a:r>
          </a:p>
          <a:p>
            <a:pPr algn="ctr"/>
            <a:r>
              <a:rPr lang="en-US" sz="1400" b="1" dirty="0">
                <a:latin typeface="+mn-lt"/>
                <a:ea typeface="Segoe UI" panose="020B0502040204020203" pitchFamily="34" charset="0"/>
                <a:cs typeface="Segoe UI" panose="020B0502040204020203" pitchFamily="34" charset="0"/>
              </a:rPr>
              <a:t>135-50-153</a:t>
            </a:r>
          </a:p>
        </p:txBody>
      </p:sp>
      <p:sp>
        <p:nvSpPr>
          <p:cNvPr id="41" name="Rectangle 40"/>
          <p:cNvSpPr/>
          <p:nvPr userDrawn="1"/>
        </p:nvSpPr>
        <p:spPr>
          <a:xfrm>
            <a:off x="6147246" y="5168685"/>
            <a:ext cx="1199034" cy="806863"/>
          </a:xfrm>
          <a:prstGeom prst="rect">
            <a:avLst/>
          </a:prstGeom>
          <a:solidFill>
            <a:srgbClr val="A437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n-lt"/>
                <a:ea typeface="Segoe UI" panose="020B0502040204020203" pitchFamily="34" charset="0"/>
                <a:cs typeface="Segoe UI" panose="020B0502040204020203" pitchFamily="34" charset="0"/>
              </a:rPr>
              <a:t>Purple A2</a:t>
            </a:r>
          </a:p>
          <a:p>
            <a:pPr algn="ctr"/>
            <a:r>
              <a:rPr lang="en-US" sz="1400" b="1" dirty="0">
                <a:latin typeface="+mn-lt"/>
                <a:ea typeface="Segoe UI" panose="020B0502040204020203" pitchFamily="34" charset="0"/>
                <a:cs typeface="Segoe UI" panose="020B0502040204020203" pitchFamily="34" charset="0"/>
              </a:rPr>
              <a:t>164-55-138</a:t>
            </a:r>
          </a:p>
        </p:txBody>
      </p:sp>
      <p:sp>
        <p:nvSpPr>
          <p:cNvPr id="44" name="TextBox 43"/>
          <p:cNvSpPr txBox="1"/>
          <p:nvPr userDrawn="1"/>
        </p:nvSpPr>
        <p:spPr>
          <a:xfrm>
            <a:off x="4773748" y="2312153"/>
            <a:ext cx="2480434" cy="461665"/>
          </a:xfrm>
          <a:prstGeom prst="rect">
            <a:avLst/>
          </a:prstGeom>
          <a:noFill/>
        </p:spPr>
        <p:txBody>
          <a:bodyPr wrap="square" rtlCol="0">
            <a:spAutoFit/>
          </a:bodyPr>
          <a:lstStyle/>
          <a:p>
            <a:pPr algn="l"/>
            <a:r>
              <a:rPr lang="en-US" sz="2400" baseline="0" dirty="0">
                <a:latin typeface="+mn-lt"/>
              </a:rPr>
              <a:t>accent palette</a:t>
            </a:r>
            <a:endParaRPr lang="en-US" sz="2400" dirty="0">
              <a:latin typeface="+mn-lt"/>
            </a:endParaRPr>
          </a:p>
        </p:txBody>
      </p:sp>
      <p:sp>
        <p:nvSpPr>
          <p:cNvPr id="45" name="Rectangle 44"/>
          <p:cNvSpPr/>
          <p:nvPr userDrawn="1"/>
        </p:nvSpPr>
        <p:spPr>
          <a:xfrm>
            <a:off x="7911761" y="5629176"/>
            <a:ext cx="1050121" cy="347736"/>
          </a:xfrm>
          <a:prstGeom prst="rect">
            <a:avLst/>
          </a:prstGeom>
          <a:solidFill>
            <a:srgbClr val="629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n-lt"/>
                <a:ea typeface="Segoe UI" panose="020B0502040204020203" pitchFamily="34" charset="0"/>
                <a:cs typeface="Segoe UI" panose="020B0502040204020203" pitchFamily="34" charset="0"/>
              </a:rPr>
              <a:t>98-157-55</a:t>
            </a:r>
          </a:p>
        </p:txBody>
      </p:sp>
      <p:sp>
        <p:nvSpPr>
          <p:cNvPr id="46" name="Rectangle 45"/>
          <p:cNvSpPr/>
          <p:nvPr userDrawn="1"/>
        </p:nvSpPr>
        <p:spPr>
          <a:xfrm>
            <a:off x="9030771" y="5629175"/>
            <a:ext cx="1050121" cy="347736"/>
          </a:xfrm>
          <a:prstGeom prst="rect">
            <a:avLst/>
          </a:prstGeom>
          <a:solidFill>
            <a:srgbClr val="FFC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n-lt"/>
                <a:ea typeface="Segoe UI" panose="020B0502040204020203" pitchFamily="34" charset="0"/>
                <a:cs typeface="Segoe UI" panose="020B0502040204020203" pitchFamily="34" charset="0"/>
              </a:rPr>
              <a:t>255-207-1</a:t>
            </a:r>
          </a:p>
        </p:txBody>
      </p:sp>
      <p:sp>
        <p:nvSpPr>
          <p:cNvPr id="47" name="Rectangle 46"/>
          <p:cNvSpPr/>
          <p:nvPr userDrawn="1"/>
        </p:nvSpPr>
        <p:spPr>
          <a:xfrm>
            <a:off x="10149781" y="5629175"/>
            <a:ext cx="1050121" cy="34773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n-lt"/>
                <a:ea typeface="Segoe UI" panose="020B0502040204020203" pitchFamily="34" charset="0"/>
                <a:cs typeface="Segoe UI" panose="020B0502040204020203" pitchFamily="34" charset="0"/>
              </a:rPr>
              <a:t>192-0-0</a:t>
            </a:r>
          </a:p>
        </p:txBody>
      </p:sp>
      <p:sp>
        <p:nvSpPr>
          <p:cNvPr id="49" name="TextBox 48"/>
          <p:cNvSpPr txBox="1"/>
          <p:nvPr userDrawn="1"/>
        </p:nvSpPr>
        <p:spPr>
          <a:xfrm>
            <a:off x="1817080" y="1370290"/>
            <a:ext cx="2516689" cy="830997"/>
          </a:xfrm>
          <a:prstGeom prst="rect">
            <a:avLst/>
          </a:prstGeom>
          <a:noFill/>
        </p:spPr>
        <p:txBody>
          <a:bodyPr wrap="square" rtlCol="0">
            <a:spAutoFit/>
          </a:bodyPr>
          <a:lstStyle/>
          <a:p>
            <a:pPr algn="l"/>
            <a:r>
              <a:rPr lang="en-US" sz="1200" baseline="0" dirty="0">
                <a:latin typeface="+mn-lt"/>
              </a:rPr>
              <a:t>Micron’s corporate color system retains a strong sense of the original blue color has defined us from the beginning. </a:t>
            </a:r>
            <a:endParaRPr lang="en-US" sz="1200" dirty="0">
              <a:latin typeface="+mn-lt"/>
            </a:endParaRPr>
          </a:p>
        </p:txBody>
      </p:sp>
      <p:sp>
        <p:nvSpPr>
          <p:cNvPr id="50" name="TextBox 49"/>
          <p:cNvSpPr txBox="1"/>
          <p:nvPr userDrawn="1"/>
        </p:nvSpPr>
        <p:spPr>
          <a:xfrm>
            <a:off x="1791374" y="3913787"/>
            <a:ext cx="2542395" cy="830997"/>
          </a:xfrm>
          <a:prstGeom prst="rect">
            <a:avLst/>
          </a:prstGeom>
          <a:noFill/>
        </p:spPr>
        <p:txBody>
          <a:bodyPr wrap="square" rtlCol="0">
            <a:spAutoFit/>
          </a:bodyPr>
          <a:lstStyle/>
          <a:p>
            <a:pPr algn="l"/>
            <a:r>
              <a:rPr lang="en-US" sz="1200" baseline="0" dirty="0">
                <a:latin typeface="+mn-lt"/>
              </a:rPr>
              <a:t>We offer gray and a gray palette as a secondary color, which can be used with our Micron blue and blue palette. </a:t>
            </a:r>
            <a:endParaRPr lang="en-US" sz="1200" dirty="0">
              <a:latin typeface="+mn-lt"/>
            </a:endParaRPr>
          </a:p>
        </p:txBody>
      </p:sp>
      <p:sp>
        <p:nvSpPr>
          <p:cNvPr id="52" name="TextBox 51"/>
          <p:cNvSpPr txBox="1"/>
          <p:nvPr userDrawn="1"/>
        </p:nvSpPr>
        <p:spPr>
          <a:xfrm>
            <a:off x="1817080" y="949290"/>
            <a:ext cx="2480434" cy="461665"/>
          </a:xfrm>
          <a:prstGeom prst="rect">
            <a:avLst/>
          </a:prstGeom>
          <a:noFill/>
        </p:spPr>
        <p:txBody>
          <a:bodyPr wrap="square" rtlCol="0">
            <a:spAutoFit/>
          </a:bodyPr>
          <a:lstStyle/>
          <a:p>
            <a:pPr algn="l"/>
            <a:r>
              <a:rPr lang="en-US" sz="2400" baseline="0" dirty="0">
                <a:latin typeface="+mn-lt"/>
              </a:rPr>
              <a:t>blue palette</a:t>
            </a:r>
            <a:endParaRPr lang="en-US" sz="2400" dirty="0">
              <a:latin typeface="+mn-lt"/>
            </a:endParaRPr>
          </a:p>
        </p:txBody>
      </p:sp>
      <p:sp>
        <p:nvSpPr>
          <p:cNvPr id="53" name="TextBox 52"/>
          <p:cNvSpPr txBox="1"/>
          <p:nvPr userDrawn="1"/>
        </p:nvSpPr>
        <p:spPr>
          <a:xfrm>
            <a:off x="1777615" y="3501432"/>
            <a:ext cx="2480434" cy="461665"/>
          </a:xfrm>
          <a:prstGeom prst="rect">
            <a:avLst/>
          </a:prstGeom>
          <a:noFill/>
        </p:spPr>
        <p:txBody>
          <a:bodyPr wrap="square" rtlCol="0">
            <a:spAutoFit/>
          </a:bodyPr>
          <a:lstStyle/>
          <a:p>
            <a:pPr algn="l"/>
            <a:r>
              <a:rPr lang="en-US" sz="2400" baseline="0" dirty="0">
                <a:latin typeface="+mn-lt"/>
              </a:rPr>
              <a:t>gray palette</a:t>
            </a:r>
            <a:endParaRPr lang="en-US" sz="2400" dirty="0">
              <a:latin typeface="+mn-lt"/>
            </a:endParaRPr>
          </a:p>
        </p:txBody>
      </p:sp>
      <p:sp>
        <p:nvSpPr>
          <p:cNvPr id="2" name="Rectangle 1"/>
          <p:cNvSpPr/>
          <p:nvPr userDrawn="1"/>
        </p:nvSpPr>
        <p:spPr>
          <a:xfrm>
            <a:off x="4773748" y="2734879"/>
            <a:ext cx="2480434" cy="646331"/>
          </a:xfrm>
          <a:prstGeom prst="rect">
            <a:avLst/>
          </a:prstGeom>
        </p:spPr>
        <p:txBody>
          <a:bodyPr wrap="square">
            <a:spAutoFit/>
          </a:bodyPr>
          <a:lstStyle/>
          <a:p>
            <a:r>
              <a:rPr lang="en-US" sz="1200" baseline="0" dirty="0">
                <a:latin typeface="+mn-lt"/>
              </a:rPr>
              <a:t>White can also be used to lighten and balance our blue, gray and accent colors.</a:t>
            </a:r>
            <a:endParaRPr lang="en-US" sz="1200" dirty="0"/>
          </a:p>
        </p:txBody>
      </p:sp>
      <p:sp>
        <p:nvSpPr>
          <p:cNvPr id="54" name="TextBox 53"/>
          <p:cNvSpPr txBox="1"/>
          <p:nvPr userDrawn="1"/>
        </p:nvSpPr>
        <p:spPr>
          <a:xfrm>
            <a:off x="7840386" y="4744784"/>
            <a:ext cx="2480434" cy="461665"/>
          </a:xfrm>
          <a:prstGeom prst="rect">
            <a:avLst/>
          </a:prstGeom>
          <a:noFill/>
        </p:spPr>
        <p:txBody>
          <a:bodyPr wrap="square" rtlCol="0">
            <a:spAutoFit/>
          </a:bodyPr>
          <a:lstStyle/>
          <a:p>
            <a:pPr algn="l"/>
            <a:r>
              <a:rPr lang="en-US" sz="2400" baseline="0" dirty="0">
                <a:latin typeface="+mn-lt"/>
              </a:rPr>
              <a:t>status palette</a:t>
            </a:r>
            <a:endParaRPr lang="en-US" sz="2400" dirty="0">
              <a:latin typeface="+mn-lt"/>
            </a:endParaRPr>
          </a:p>
        </p:txBody>
      </p:sp>
      <p:sp>
        <p:nvSpPr>
          <p:cNvPr id="55" name="Rectangle 54"/>
          <p:cNvSpPr/>
          <p:nvPr userDrawn="1"/>
        </p:nvSpPr>
        <p:spPr>
          <a:xfrm>
            <a:off x="7840386" y="5167510"/>
            <a:ext cx="2480434" cy="461665"/>
          </a:xfrm>
          <a:prstGeom prst="rect">
            <a:avLst/>
          </a:prstGeom>
        </p:spPr>
        <p:txBody>
          <a:bodyPr wrap="square">
            <a:spAutoFit/>
          </a:bodyPr>
          <a:lstStyle/>
          <a:p>
            <a:pPr algn="l"/>
            <a:r>
              <a:rPr lang="en-US" sz="1200" dirty="0">
                <a:latin typeface="Arial" panose="020B0604020202020204" pitchFamily="34" charset="0"/>
                <a:cs typeface="Arial" panose="020B0604020202020204" pitchFamily="34" charset="0"/>
              </a:rPr>
              <a:t>Colors to be used only as status indicators. </a:t>
            </a:r>
          </a:p>
        </p:txBody>
      </p:sp>
      <p:sp>
        <p:nvSpPr>
          <p:cNvPr id="56" name="Rectangle 55"/>
          <p:cNvSpPr/>
          <p:nvPr userDrawn="1"/>
        </p:nvSpPr>
        <p:spPr>
          <a:xfrm>
            <a:off x="7911761" y="2734878"/>
            <a:ext cx="2480434" cy="646331"/>
          </a:xfrm>
          <a:prstGeom prst="rect">
            <a:avLst/>
          </a:prstGeom>
        </p:spPr>
        <p:txBody>
          <a:bodyPr wrap="square">
            <a:spAutoFit/>
          </a:bodyPr>
          <a:lstStyle/>
          <a:p>
            <a:r>
              <a:rPr lang="en-US" sz="1200" baseline="0" dirty="0">
                <a:latin typeface="+mn-lt"/>
              </a:rPr>
              <a:t>For more information on how to change colors using RGB codes, visit the ppt training page.</a:t>
            </a:r>
            <a:endParaRPr lang="en-US" sz="1200" dirty="0"/>
          </a:p>
        </p:txBody>
      </p:sp>
      <p:sp>
        <p:nvSpPr>
          <p:cNvPr id="57" name="TextBox 56"/>
          <p:cNvSpPr txBox="1"/>
          <p:nvPr userDrawn="1"/>
        </p:nvSpPr>
        <p:spPr>
          <a:xfrm>
            <a:off x="7911761" y="2312153"/>
            <a:ext cx="2480434" cy="461665"/>
          </a:xfrm>
          <a:prstGeom prst="rect">
            <a:avLst/>
          </a:prstGeom>
          <a:noFill/>
        </p:spPr>
        <p:txBody>
          <a:bodyPr wrap="square" rtlCol="0">
            <a:spAutoFit/>
          </a:bodyPr>
          <a:lstStyle/>
          <a:p>
            <a:pPr algn="l"/>
            <a:r>
              <a:rPr lang="en-US" sz="2400" baseline="0" dirty="0">
                <a:latin typeface="+mn-lt"/>
              </a:rPr>
              <a:t>how to use</a:t>
            </a:r>
            <a:endParaRPr lang="en-US" sz="2400" dirty="0">
              <a:latin typeface="+mn-lt"/>
            </a:endParaRPr>
          </a:p>
        </p:txBody>
      </p:sp>
    </p:spTree>
    <p:extLst>
      <p:ext uri="{BB962C8B-B14F-4D97-AF65-F5344CB8AC3E}">
        <p14:creationId xmlns:p14="http://schemas.microsoft.com/office/powerpoint/2010/main" val="3902369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2/3</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5" name="直接连接符 4">
            <a:extLst>
              <a:ext uri="{FF2B5EF4-FFF2-40B4-BE49-F238E27FC236}">
                <a16:creationId xmlns:a16="http://schemas.microsoft.com/office/drawing/2014/main" id="{8D97678A-7A44-45E9-B637-D4B9DBFEA42C}"/>
              </a:ext>
            </a:extLst>
          </p:cNvPr>
          <p:cNvCxnSpPr>
            <a:cxnSpLocks/>
          </p:cNvCxnSpPr>
          <p:nvPr userDrawn="1"/>
        </p:nvCxnSpPr>
        <p:spPr>
          <a:xfrm flipH="1">
            <a:off x="673100" y="3755688"/>
            <a:ext cx="10847388" cy="0"/>
          </a:xfrm>
          <a:prstGeom prst="line">
            <a:avLst/>
          </a:prstGeom>
          <a:ln w="1270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矩形: 圆角 6">
            <a:extLst>
              <a:ext uri="{FF2B5EF4-FFF2-40B4-BE49-F238E27FC236}">
                <a16:creationId xmlns:a16="http://schemas.microsoft.com/office/drawing/2014/main" id="{B4912D2E-03CB-426F-B6F0-CE0EA665D1C2}"/>
              </a:ext>
            </a:extLst>
          </p:cNvPr>
          <p:cNvSpPr>
            <a:spLocks/>
          </p:cNvSpPr>
          <p:nvPr userDrawn="1"/>
        </p:nvSpPr>
        <p:spPr>
          <a:xfrm flipH="1">
            <a:off x="669925" y="738666"/>
            <a:ext cx="1153014" cy="391634"/>
          </a:xfrm>
          <a:prstGeom prst="roundRect">
            <a:avLst>
              <a:gd name="adj" fmla="val 0"/>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sz="1600" dirty="0">
                <a:solidFill>
                  <a:schemeClr val="bg1">
                    <a:lumMod val="65000"/>
                  </a:schemeClr>
                </a:solidFill>
                <a:latin typeface="Impact" panose="020B0806030902050204" pitchFamily="34" charset="0"/>
              </a:rPr>
              <a:t>LOGO</a:t>
            </a:r>
            <a:endParaRPr lang="zh-CN" altLang="en-US" sz="1600" dirty="0">
              <a:solidFill>
                <a:schemeClr val="bg1">
                  <a:lumMod val="65000"/>
                </a:schemeClr>
              </a:solidFill>
              <a:latin typeface="Impact" panose="020B0806030902050204" pitchFamily="34" charset="0"/>
            </a:endParaRPr>
          </a:p>
        </p:txBody>
      </p:sp>
      <p:pic>
        <p:nvPicPr>
          <p:cNvPr id="8" name="图片 7">
            <a:extLst>
              <a:ext uri="{FF2B5EF4-FFF2-40B4-BE49-F238E27FC236}">
                <a16:creationId xmlns:a16="http://schemas.microsoft.com/office/drawing/2014/main" id="{424A871B-3AA2-496F-B3EB-C3DB0FCCB4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2457450" y="-12299"/>
            <a:ext cx="9734550" cy="6858000"/>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7" name="TextBox 6"/>
          <p:cNvSpPr txBox="1"/>
          <p:nvPr userDrawn="1"/>
        </p:nvSpPr>
        <p:spPr>
          <a:xfrm>
            <a:off x="968329" y="5211156"/>
            <a:ext cx="5551741" cy="1061829"/>
          </a:xfrm>
          <a:prstGeom prst="rect">
            <a:avLst/>
          </a:prstGeom>
          <a:noFill/>
        </p:spPr>
        <p:txBody>
          <a:bodyPr wrap="square" rtlCol="0">
            <a:spAutoFit/>
          </a:bodyPr>
          <a:lstStyle/>
          <a:p>
            <a:r>
              <a:rPr lang="en-US" sz="900" b="0" dirty="0">
                <a:solidFill>
                  <a:schemeClr val="bg1"/>
                </a:solidFill>
                <a:latin typeface="Arial" panose="020B0604020202020204" pitchFamily="34" charset="0"/>
                <a:ea typeface="Verdana" panose="020B0604030504040204" pitchFamily="34" charset="0"/>
                <a:cs typeface="Arial" panose="020B0604020202020204" pitchFamily="34" charset="0"/>
              </a:rPr>
              <a:t>©2017</a:t>
            </a:r>
            <a:r>
              <a:rPr lang="en-US" sz="900" b="0" baseline="0" dirty="0">
                <a:solidFill>
                  <a:schemeClr val="bg1"/>
                </a:solidFill>
                <a:latin typeface="Arial" panose="020B0604020202020204" pitchFamily="34" charset="0"/>
                <a:ea typeface="Verdana" panose="020B0604030504040204" pitchFamily="34" charset="0"/>
                <a:cs typeface="Arial" panose="020B0604020202020204" pitchFamily="34" charset="0"/>
              </a:rPr>
              <a:t> </a:t>
            </a:r>
            <a:r>
              <a:rPr lang="en-US" sz="900" b="0" dirty="0">
                <a:solidFill>
                  <a:schemeClr val="bg1"/>
                </a:solidFill>
                <a:latin typeface="Arial" panose="020B0604020202020204" pitchFamily="34" charset="0"/>
                <a:ea typeface="Verdana" panose="020B0604030504040204" pitchFamily="34" charset="0"/>
                <a:cs typeface="Arial" panose="020B0604020202020204" pitchFamily="34" charset="0"/>
              </a:rPr>
              <a:t>Micron Technology, Inc. All rights reserved. Information, products, and/or specifications are subject to change without notice. All information is provided on an “AS IS” basis without warranties of any kind. Statements regarding products, including regarding their features, availability, functionality, or compatibility, are provided for informational purposes only and do not modify the warranty, if any, applicable to any product. Drawings may not be to scale. Micron, the Micron logo, and all other Micron trademarks are the property of Micron Technology, Inc. All other trademarks are the property of their respective owners. </a:t>
            </a:r>
          </a:p>
        </p:txBody>
      </p:sp>
      <p:pic>
        <p:nvPicPr>
          <p:cNvPr id="8" name="Picture 4" descr="https://www.micron.com/~/media/brand-portal/brand-portal-logos/micron-logo_white.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83880" y="5211156"/>
            <a:ext cx="3657600" cy="995592"/>
          </a:xfrm>
          <a:prstGeom prst="rect">
            <a:avLst/>
          </a:prstGeom>
          <a:noFill/>
          <a:extLst>
            <a:ext uri="{909E8E84-426E-40DD-AFC4-6F175D3DCCD1}">
              <a14:hiddenFill xmlns:a14="http://schemas.microsoft.com/office/drawing/2010/main">
                <a:solidFill>
                  <a:srgbClr val="FFFFFF"/>
                </a:solidFill>
              </a14:hiddenFill>
            </a:ext>
          </a:extLst>
        </p:spPr>
      </p:pic>
      <p:sp>
        <p:nvSpPr>
          <p:cNvPr id="9" name="Subtitle 2"/>
          <p:cNvSpPr>
            <a:spLocks noGrp="1"/>
          </p:cNvSpPr>
          <p:nvPr>
            <p:ph type="subTitle" idx="1" hasCustomPrompt="1"/>
          </p:nvPr>
        </p:nvSpPr>
        <p:spPr>
          <a:xfrm>
            <a:off x="968329" y="3528468"/>
            <a:ext cx="10219075" cy="606068"/>
          </a:xfrm>
        </p:spPr>
        <p:txBody>
          <a:bodyPr lIns="91440">
            <a:noAutofit/>
          </a:bodyPr>
          <a:lstStyle>
            <a:lvl1pPr marL="0" indent="0" algn="l">
              <a:buNone/>
              <a:defRPr sz="32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r Speaker</a:t>
            </a:r>
          </a:p>
        </p:txBody>
      </p:sp>
      <p:sp>
        <p:nvSpPr>
          <p:cNvPr id="10" name="Text Placeholder 10"/>
          <p:cNvSpPr>
            <a:spLocks noGrp="1"/>
          </p:cNvSpPr>
          <p:nvPr>
            <p:ph type="body" sz="quarter" idx="10" hasCustomPrompt="1"/>
          </p:nvPr>
        </p:nvSpPr>
        <p:spPr>
          <a:xfrm>
            <a:off x="968329" y="4060882"/>
            <a:ext cx="10219075" cy="588962"/>
          </a:xfrm>
        </p:spPr>
        <p:txBody>
          <a:bodyPr lIns="91440">
            <a:noAutofit/>
          </a:bodyPr>
          <a:lstStyle>
            <a:lvl1pPr marL="0" indent="0">
              <a:buNone/>
              <a:defRPr sz="2400">
                <a:solidFill>
                  <a:schemeClr val="bg1"/>
                </a:solidFill>
              </a:defRPr>
            </a:lvl1pPr>
            <a:lvl2pPr marL="457200" indent="0">
              <a:buNone/>
              <a:defRPr/>
            </a:lvl2pPr>
          </a:lstStyle>
          <a:p>
            <a:pPr lvl="0"/>
            <a:r>
              <a:rPr lang="en-US" dirty="0"/>
              <a:t>Speaker or Date</a:t>
            </a:r>
          </a:p>
        </p:txBody>
      </p:sp>
      <p:sp>
        <p:nvSpPr>
          <p:cNvPr id="12" name="Title 1"/>
          <p:cNvSpPr>
            <a:spLocks noGrp="1"/>
          </p:cNvSpPr>
          <p:nvPr>
            <p:ph type="ctrTitle" hasCustomPrompt="1"/>
          </p:nvPr>
        </p:nvSpPr>
        <p:spPr>
          <a:xfrm>
            <a:off x="968329" y="1144988"/>
            <a:ext cx="10219075" cy="2448953"/>
          </a:xfrm>
        </p:spPr>
        <p:txBody>
          <a:bodyPr anchor="b">
            <a:noAutofit/>
          </a:bodyPr>
          <a:lstStyle>
            <a:lvl1pPr algn="l">
              <a:defRPr sz="6000">
                <a:solidFill>
                  <a:schemeClr val="bg1"/>
                </a:solidFill>
              </a:defRPr>
            </a:lvl1pPr>
          </a:lstStyle>
          <a:p>
            <a:r>
              <a:rPr lang="en-US" dirty="0"/>
              <a:t>Title</a:t>
            </a:r>
          </a:p>
        </p:txBody>
      </p:sp>
    </p:spTree>
    <p:extLst>
      <p:ext uri="{BB962C8B-B14F-4D97-AF65-F5344CB8AC3E}">
        <p14:creationId xmlns:p14="http://schemas.microsoft.com/office/powerpoint/2010/main" val="2138030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7" name="TextBox 6"/>
          <p:cNvSpPr txBox="1"/>
          <p:nvPr userDrawn="1"/>
        </p:nvSpPr>
        <p:spPr>
          <a:xfrm>
            <a:off x="968329" y="5211156"/>
            <a:ext cx="5551741" cy="1061829"/>
          </a:xfrm>
          <a:prstGeom prst="rect">
            <a:avLst/>
          </a:prstGeom>
          <a:noFill/>
        </p:spPr>
        <p:txBody>
          <a:bodyPr wrap="square" rtlCol="0">
            <a:spAutoFit/>
          </a:bodyPr>
          <a:lstStyle/>
          <a:p>
            <a:r>
              <a:rPr lang="en-US" sz="900" b="0" dirty="0">
                <a:solidFill>
                  <a:srgbClr val="58595B"/>
                </a:solidFill>
                <a:latin typeface="Arial" panose="020B0604020202020204" pitchFamily="34" charset="0"/>
                <a:ea typeface="Verdana" panose="020B0604030504040204" pitchFamily="34" charset="0"/>
                <a:cs typeface="Arial" panose="020B0604020202020204" pitchFamily="34" charset="0"/>
              </a:rPr>
              <a:t>©2017</a:t>
            </a:r>
            <a:r>
              <a:rPr lang="en-US" sz="900" b="0" baseline="0" dirty="0">
                <a:solidFill>
                  <a:srgbClr val="58595B"/>
                </a:solidFill>
                <a:latin typeface="Arial" panose="020B0604020202020204" pitchFamily="34" charset="0"/>
                <a:ea typeface="Verdana" panose="020B0604030504040204" pitchFamily="34" charset="0"/>
                <a:cs typeface="Arial" panose="020B0604020202020204" pitchFamily="34" charset="0"/>
              </a:rPr>
              <a:t> </a:t>
            </a:r>
            <a:r>
              <a:rPr lang="en-US" sz="900" b="0" dirty="0">
                <a:solidFill>
                  <a:srgbClr val="58595B"/>
                </a:solidFill>
                <a:latin typeface="Arial" panose="020B0604020202020204" pitchFamily="34" charset="0"/>
                <a:ea typeface="Verdana" panose="020B0604030504040204" pitchFamily="34" charset="0"/>
                <a:cs typeface="Arial" panose="020B0604020202020204" pitchFamily="34" charset="0"/>
              </a:rPr>
              <a:t>Micron Technology, Inc. All rights reserved. Information, products, and/or specifications are subject to change without notice. All information is provided on an “AS IS” basis without warranties of any kind. Statements regarding products, including regarding their features, availability, functionality, or compatibility, are provided for informational purposes only and do not modify the warranty, if any, applicable to any product. Drawings may not be to scale. Micron, the Micron logo, and all other Micron trademarks are the property of Micron Technology, Inc. All other trademarks are the property of their respective owners. </a:t>
            </a:r>
          </a:p>
        </p:txBody>
      </p:sp>
      <p:pic>
        <p:nvPicPr>
          <p:cNvPr id="9" name="Picture 2" descr="https://www.micron.com/~/media/brand-portal/brand-portal-logos/micron-logo_blue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90136" y="5211156"/>
            <a:ext cx="3657600" cy="995592"/>
          </a:xfrm>
          <a:prstGeom prst="rect">
            <a:avLst/>
          </a:prstGeom>
          <a:noFill/>
          <a:extLst>
            <a:ext uri="{909E8E84-426E-40DD-AFC4-6F175D3DCCD1}">
              <a14:hiddenFill xmlns:a14="http://schemas.microsoft.com/office/drawing/2010/main">
                <a:solidFill>
                  <a:srgbClr val="FFFFFF"/>
                </a:solidFill>
              </a14:hiddenFill>
            </a:ext>
          </a:extLst>
        </p:spPr>
      </p:pic>
      <p:sp>
        <p:nvSpPr>
          <p:cNvPr id="11" name="Subtitle 2"/>
          <p:cNvSpPr>
            <a:spLocks noGrp="1"/>
          </p:cNvSpPr>
          <p:nvPr>
            <p:ph type="subTitle" idx="1" hasCustomPrompt="1"/>
          </p:nvPr>
        </p:nvSpPr>
        <p:spPr>
          <a:xfrm>
            <a:off x="968329" y="3528468"/>
            <a:ext cx="10219075" cy="606068"/>
          </a:xfrm>
        </p:spPr>
        <p:txBody>
          <a:bodyPr>
            <a:noAutofit/>
          </a:bodyPr>
          <a:lstStyle>
            <a:lvl1pPr marL="0" indent="0" algn="l">
              <a:buNone/>
              <a:defRPr sz="3200" baseline="0">
                <a:solidFill>
                  <a:srgbClr val="58595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r Speaker</a:t>
            </a:r>
          </a:p>
        </p:txBody>
      </p:sp>
      <p:sp>
        <p:nvSpPr>
          <p:cNvPr id="12" name="Text Placeholder 10"/>
          <p:cNvSpPr>
            <a:spLocks noGrp="1"/>
          </p:cNvSpPr>
          <p:nvPr>
            <p:ph type="body" sz="quarter" idx="10" hasCustomPrompt="1"/>
          </p:nvPr>
        </p:nvSpPr>
        <p:spPr>
          <a:xfrm>
            <a:off x="968329" y="4060882"/>
            <a:ext cx="10219075" cy="588962"/>
          </a:xfrm>
        </p:spPr>
        <p:txBody>
          <a:bodyPr>
            <a:noAutofit/>
          </a:bodyPr>
          <a:lstStyle>
            <a:lvl1pPr marL="0" indent="0">
              <a:buNone/>
              <a:defRPr sz="2400">
                <a:solidFill>
                  <a:srgbClr val="58595B"/>
                </a:solidFill>
              </a:defRPr>
            </a:lvl1pPr>
            <a:lvl2pPr marL="457200" indent="0">
              <a:buNone/>
              <a:defRPr/>
            </a:lvl2pPr>
          </a:lstStyle>
          <a:p>
            <a:pPr lvl="0"/>
            <a:r>
              <a:rPr lang="en-US" dirty="0"/>
              <a:t>Speaker or Date</a:t>
            </a:r>
          </a:p>
        </p:txBody>
      </p:sp>
      <p:sp>
        <p:nvSpPr>
          <p:cNvPr id="13" name="Title 1"/>
          <p:cNvSpPr>
            <a:spLocks noGrp="1"/>
          </p:cNvSpPr>
          <p:nvPr>
            <p:ph type="ctrTitle" hasCustomPrompt="1"/>
          </p:nvPr>
        </p:nvSpPr>
        <p:spPr>
          <a:xfrm>
            <a:off x="968329" y="1137037"/>
            <a:ext cx="10219075" cy="2456904"/>
          </a:xfrm>
        </p:spPr>
        <p:txBody>
          <a:bodyPr anchor="b">
            <a:noAutofit/>
          </a:bodyPr>
          <a:lstStyle>
            <a:lvl1pPr algn="l">
              <a:defRPr sz="6000">
                <a:solidFill>
                  <a:srgbClr val="0077C8"/>
                </a:solidFill>
              </a:defRPr>
            </a:lvl1pPr>
          </a:lstStyle>
          <a:p>
            <a:r>
              <a:rPr lang="en-US" dirty="0"/>
              <a:t>Title</a:t>
            </a:r>
          </a:p>
        </p:txBody>
      </p:sp>
    </p:spTree>
    <p:extLst>
      <p:ext uri="{BB962C8B-B14F-4D97-AF65-F5344CB8AC3E}">
        <p14:creationId xmlns:p14="http://schemas.microsoft.com/office/powerpoint/2010/main" val="1120453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B80A1F0D-9D48-4EDD-93BE-F8C473D06BE9}" type="datetime4">
              <a:rPr lang="en-US" smtClean="0"/>
              <a:t>December 3, 2019</a:t>
            </a:fld>
            <a:endParaRPr lang="en-US"/>
          </a:p>
        </p:txBody>
      </p:sp>
      <p:sp>
        <p:nvSpPr>
          <p:cNvPr id="5" name="Footer Placeholder 4"/>
          <p:cNvSpPr>
            <a:spLocks noGrp="1"/>
          </p:cNvSpPr>
          <p:nvPr>
            <p:ph type="ftr" sz="quarter" idx="11"/>
          </p:nvPr>
        </p:nvSpPr>
        <p:spPr/>
        <p:txBody>
          <a:bodyPr/>
          <a:lstStyle/>
          <a:p>
            <a:r>
              <a:rPr lang="en-US"/>
              <a:t>Micron Confidential</a:t>
            </a:r>
          </a:p>
        </p:txBody>
      </p:sp>
      <p:sp>
        <p:nvSpPr>
          <p:cNvPr id="6" name="Slide Number Placeholder 5"/>
          <p:cNvSpPr>
            <a:spLocks noGrp="1"/>
          </p:cNvSpPr>
          <p:nvPr>
            <p:ph type="sldNum" sz="quarter" idx="12"/>
          </p:nvPr>
        </p:nvSpPr>
        <p:spPr/>
        <p:txBody>
          <a:bodyPr/>
          <a:lstStyle/>
          <a:p>
            <a:fld id="{B7E7695C-FCF1-4AA0-9B93-7941FED13DC4}" type="slidenum">
              <a:rPr lang="en-US" smtClean="0"/>
              <a:t>‹#›</a:t>
            </a:fld>
            <a:endParaRPr lang="en-US"/>
          </a:p>
        </p:txBody>
      </p:sp>
      <p:sp>
        <p:nvSpPr>
          <p:cNvPr id="8" name="Content Placeholder 2"/>
          <p:cNvSpPr>
            <a:spLocks noGrp="1"/>
          </p:cNvSpPr>
          <p:nvPr>
            <p:ph sz="half" idx="1"/>
          </p:nvPr>
        </p:nvSpPr>
        <p:spPr>
          <a:xfrm>
            <a:off x="838200" y="1447800"/>
            <a:ext cx="10515600" cy="47291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57639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image" Target="../media/image2.png"/><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2/3</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628788"/>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244858" y="6412007"/>
            <a:ext cx="1710155" cy="365125"/>
          </a:xfrm>
          <a:prstGeom prst="rect">
            <a:avLst/>
          </a:prstGeom>
        </p:spPr>
        <p:txBody>
          <a:bodyPr vert="horz" lIns="91440" tIns="45720" rIns="91440" bIns="45720" rtlCol="0" anchor="ctr"/>
          <a:lstStyle>
            <a:lvl1pPr algn="ctr">
              <a:defRPr sz="900">
                <a:solidFill>
                  <a:srgbClr val="58595B"/>
                </a:solidFill>
                <a:latin typeface="Arial" panose="020B0604020202020204" pitchFamily="34" charset="0"/>
                <a:cs typeface="Arial" panose="020B0604020202020204" pitchFamily="34" charset="0"/>
              </a:defRPr>
            </a:lvl1pPr>
          </a:lstStyle>
          <a:p>
            <a:fld id="{FBD81F6B-C008-4C66-BD61-4BBE687FC954}" type="datetime4">
              <a:rPr lang="en-US" smtClean="0"/>
              <a:t>December 3, 2019</a:t>
            </a:fld>
            <a:endParaRPr lang="en-US" dirty="0"/>
          </a:p>
        </p:txBody>
      </p:sp>
      <p:sp>
        <p:nvSpPr>
          <p:cNvPr id="5" name="Footer Placeholder 4"/>
          <p:cNvSpPr>
            <a:spLocks noGrp="1"/>
          </p:cNvSpPr>
          <p:nvPr>
            <p:ph type="ftr" sz="quarter" idx="3"/>
          </p:nvPr>
        </p:nvSpPr>
        <p:spPr>
          <a:xfrm>
            <a:off x="838199" y="6412006"/>
            <a:ext cx="1387415" cy="365125"/>
          </a:xfrm>
          <a:prstGeom prst="rect">
            <a:avLst/>
          </a:prstGeom>
        </p:spPr>
        <p:txBody>
          <a:bodyPr vert="horz" lIns="91440" tIns="45720" rIns="91440" bIns="45720" rtlCol="0" anchor="ctr"/>
          <a:lstStyle>
            <a:lvl1pPr algn="l">
              <a:defRPr sz="900">
                <a:solidFill>
                  <a:srgbClr val="58595B"/>
                </a:solidFill>
                <a:latin typeface="Arial" panose="020B0604020202020204" pitchFamily="34" charset="0"/>
                <a:cs typeface="Arial" panose="020B0604020202020204" pitchFamily="34" charset="0"/>
              </a:defRPr>
            </a:lvl1pPr>
          </a:lstStyle>
          <a:p>
            <a:r>
              <a:rPr lang="en-US" dirty="0"/>
              <a:t>Micron Confidential</a:t>
            </a:r>
          </a:p>
        </p:txBody>
      </p:sp>
      <p:sp>
        <p:nvSpPr>
          <p:cNvPr id="6" name="Slide Number Placeholder 5"/>
          <p:cNvSpPr>
            <a:spLocks noGrp="1"/>
          </p:cNvSpPr>
          <p:nvPr>
            <p:ph type="sldNum" sz="quarter" idx="4"/>
          </p:nvPr>
        </p:nvSpPr>
        <p:spPr>
          <a:xfrm>
            <a:off x="1" y="6412007"/>
            <a:ext cx="838198" cy="365125"/>
          </a:xfrm>
          <a:prstGeom prst="rect">
            <a:avLst/>
          </a:prstGeom>
        </p:spPr>
        <p:txBody>
          <a:bodyPr vert="horz" lIns="91440" tIns="45720" rIns="91440" bIns="45720" rtlCol="0" anchor="ctr"/>
          <a:lstStyle>
            <a:lvl1pPr algn="ctr">
              <a:defRPr sz="1100" b="1">
                <a:solidFill>
                  <a:srgbClr val="58595B"/>
                </a:solidFill>
                <a:latin typeface="Arial" panose="020B0604020202020204" pitchFamily="34" charset="0"/>
                <a:cs typeface="Arial" panose="020B0604020202020204" pitchFamily="34" charset="0"/>
              </a:defRPr>
            </a:lvl1pPr>
          </a:lstStyle>
          <a:p>
            <a:fld id="{B7E7695C-FCF1-4AA0-9B93-7941FED13DC4}" type="slidenum">
              <a:rPr lang="en-US" smtClean="0"/>
              <a:pPr/>
              <a:t>‹#›</a:t>
            </a:fld>
            <a:endParaRPr lang="en-US" dirty="0"/>
          </a:p>
        </p:txBody>
      </p:sp>
      <p:pic>
        <p:nvPicPr>
          <p:cNvPr id="8" name="Picture 7"/>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904472" y="6470076"/>
            <a:ext cx="914400" cy="248898"/>
          </a:xfrm>
          <a:prstGeom prst="rect">
            <a:avLst/>
          </a:prstGeom>
        </p:spPr>
      </p:pic>
    </p:spTree>
    <p:extLst>
      <p:ext uri="{BB962C8B-B14F-4D97-AF65-F5344CB8AC3E}">
        <p14:creationId xmlns:p14="http://schemas.microsoft.com/office/powerpoint/2010/main" val="196965944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Lst>
  <p:hf hdr="0" dt="0"/>
  <p:txStyles>
    <p:titleStyle>
      <a:lvl1pPr algn="l" defTabSz="914400" rtl="0" eaLnBrk="1" latinLnBrk="0" hangingPunct="1">
        <a:lnSpc>
          <a:spcPct val="90000"/>
        </a:lnSpc>
        <a:spcBef>
          <a:spcPct val="0"/>
        </a:spcBef>
        <a:buNone/>
        <a:defRPr sz="3200" b="1" kern="1200" spc="-150">
          <a:solidFill>
            <a:srgbClr val="58595B"/>
          </a:solidFill>
          <a:latin typeface="+mj-lt"/>
          <a:ea typeface="+mj-ea"/>
          <a:cs typeface="+mj-cs"/>
        </a:defRPr>
      </a:lvl1pPr>
    </p:titleStyle>
    <p:bodyStyle>
      <a:lvl1pPr marL="228600" indent="-274320" algn="l" defTabSz="914400" rtl="0" eaLnBrk="1" latinLnBrk="0" hangingPunct="1">
        <a:lnSpc>
          <a:spcPct val="90000"/>
        </a:lnSpc>
        <a:spcBef>
          <a:spcPts val="1000"/>
        </a:spcBef>
        <a:buClr>
          <a:srgbClr val="0077C8"/>
        </a:buClr>
        <a:buFont typeface="Wingdings" panose="05000000000000000000" pitchFamily="2" charset="2"/>
        <a:buChar char="§"/>
        <a:defRPr sz="2400" kern="1200">
          <a:solidFill>
            <a:srgbClr val="58595B"/>
          </a:solidFill>
          <a:latin typeface="+mn-lt"/>
          <a:ea typeface="+mn-ea"/>
          <a:cs typeface="+mn-cs"/>
        </a:defRPr>
      </a:lvl1pPr>
      <a:lvl2pPr marL="685800" indent="-274320" algn="l" defTabSz="914400" rtl="0" eaLnBrk="1" latinLnBrk="0" hangingPunct="1">
        <a:lnSpc>
          <a:spcPct val="90000"/>
        </a:lnSpc>
        <a:spcBef>
          <a:spcPts val="500"/>
        </a:spcBef>
        <a:buClr>
          <a:srgbClr val="0077C8"/>
        </a:buClr>
        <a:buFont typeface="Arial" panose="020B0604020202020204" pitchFamily="34" charset="0"/>
        <a:buChar char="−"/>
        <a:defRPr sz="2000" kern="1200">
          <a:solidFill>
            <a:srgbClr val="58595B"/>
          </a:solidFill>
          <a:latin typeface="+mn-lt"/>
          <a:ea typeface="+mn-ea"/>
          <a:cs typeface="+mn-cs"/>
        </a:defRPr>
      </a:lvl2pPr>
      <a:lvl3pPr marL="1143000" indent="-274320" algn="l" defTabSz="914400" rtl="0" eaLnBrk="1" latinLnBrk="0" hangingPunct="1">
        <a:lnSpc>
          <a:spcPct val="90000"/>
        </a:lnSpc>
        <a:spcBef>
          <a:spcPts val="500"/>
        </a:spcBef>
        <a:buClr>
          <a:srgbClr val="0077C8"/>
        </a:buClr>
        <a:buFont typeface="Wingdings" panose="05000000000000000000" pitchFamily="2" charset="2"/>
        <a:buChar char="§"/>
        <a:defRPr sz="1800" kern="1200">
          <a:solidFill>
            <a:srgbClr val="58595B"/>
          </a:solidFill>
          <a:latin typeface="+mn-lt"/>
          <a:ea typeface="+mn-ea"/>
          <a:cs typeface="+mn-cs"/>
        </a:defRPr>
      </a:lvl3pPr>
      <a:lvl4pPr marL="1600200" indent="-274320" algn="l" defTabSz="914400" rtl="0" eaLnBrk="1" latinLnBrk="0" hangingPunct="1">
        <a:lnSpc>
          <a:spcPct val="90000"/>
        </a:lnSpc>
        <a:spcBef>
          <a:spcPts val="500"/>
        </a:spcBef>
        <a:buClr>
          <a:srgbClr val="0077C8"/>
        </a:buClr>
        <a:buFont typeface="Arial" panose="020B0604020202020204" pitchFamily="34" charset="0"/>
        <a:buChar char="−"/>
        <a:defRPr sz="1600" kern="1200">
          <a:solidFill>
            <a:srgbClr val="58595B"/>
          </a:solidFill>
          <a:latin typeface="+mn-lt"/>
          <a:ea typeface="+mn-ea"/>
          <a:cs typeface="+mn-cs"/>
        </a:defRPr>
      </a:lvl4pPr>
      <a:lvl5pPr marL="2057400" indent="-274320" algn="l" defTabSz="914400" rtl="0" eaLnBrk="1" latinLnBrk="0" hangingPunct="1">
        <a:lnSpc>
          <a:spcPct val="90000"/>
        </a:lnSpc>
        <a:spcBef>
          <a:spcPts val="500"/>
        </a:spcBef>
        <a:buClr>
          <a:srgbClr val="0077C8"/>
        </a:buClr>
        <a:buFont typeface="Wingdings" panose="05000000000000000000" pitchFamily="2" charset="2"/>
        <a:buChar char="§"/>
        <a:defRPr sz="1400" kern="1200">
          <a:solidFill>
            <a:srgbClr val="58595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4.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extLst>
              <a:ext uri="{FF2B5EF4-FFF2-40B4-BE49-F238E27FC236}">
                <a16:creationId xmlns:a16="http://schemas.microsoft.com/office/drawing/2014/main" id="{73D68429-C8C6-48A0-93AB-0FD63EB57BB8}"/>
              </a:ext>
            </a:extLst>
          </p:cNvPr>
          <p:cNvSpPr/>
          <p:nvPr/>
        </p:nvSpPr>
        <p:spPr>
          <a:xfrm>
            <a:off x="6095999" y="3321494"/>
            <a:ext cx="5307725" cy="6249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62C38E4D-BDFB-4FAD-83F7-4D1F8CC1456F}"/>
              </a:ext>
            </a:extLst>
          </p:cNvPr>
          <p:cNvSpPr/>
          <p:nvPr/>
        </p:nvSpPr>
        <p:spPr>
          <a:xfrm>
            <a:off x="6096000" y="1731484"/>
            <a:ext cx="2232801" cy="6249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3"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9867900" y="4006458"/>
            <a:ext cx="1535824" cy="558799"/>
          </a:xfrm>
        </p:spPr>
        <p:txBody>
          <a:bodyPr>
            <a:normAutofit fontScale="92500" lnSpcReduction="10000"/>
          </a:bodyPr>
          <a:lstStyle/>
          <a:p>
            <a:r>
              <a:rPr lang="en-US" altLang="zh-CN" b="1" i="1" dirty="0"/>
              <a:t>For staff meeting</a:t>
            </a:r>
          </a:p>
        </p:txBody>
      </p:sp>
      <p:sp>
        <p:nvSpPr>
          <p:cNvPr id="6" name="文本占位符 5"/>
          <p:cNvSpPr>
            <a:spLocks noGrp="1"/>
          </p:cNvSpPr>
          <p:nvPr>
            <p:ph type="body" sz="quarter" idx="10"/>
          </p:nvPr>
        </p:nvSpPr>
        <p:spPr>
          <a:xfrm>
            <a:off x="557924" y="5486881"/>
            <a:ext cx="10845800" cy="296271"/>
          </a:xfrm>
        </p:spPr>
        <p:txBody>
          <a:bodyPr/>
          <a:lstStyle/>
          <a:p>
            <a:pPr algn="r"/>
            <a:r>
              <a:rPr lang="en-US" altLang="zh-CN" b="1" i="1" dirty="0"/>
              <a:t>Data science engineer</a:t>
            </a:r>
          </a:p>
        </p:txBody>
      </p:sp>
      <p:sp>
        <p:nvSpPr>
          <p:cNvPr id="7" name="文本占位符 6"/>
          <p:cNvSpPr>
            <a:spLocks noGrp="1"/>
          </p:cNvSpPr>
          <p:nvPr>
            <p:ph type="body" sz="quarter" idx="11"/>
          </p:nvPr>
        </p:nvSpPr>
        <p:spPr>
          <a:xfrm>
            <a:off x="557924" y="5783152"/>
            <a:ext cx="10845800" cy="296271"/>
          </a:xfrm>
        </p:spPr>
        <p:txBody>
          <a:bodyPr/>
          <a:lstStyle/>
          <a:p>
            <a:pPr algn="r"/>
            <a:r>
              <a:rPr lang="en-US" altLang="en-US" b="1" i="1" dirty="0"/>
              <a:t>Ethan Yan</a:t>
            </a:r>
          </a:p>
        </p:txBody>
      </p:sp>
      <p:sp>
        <p:nvSpPr>
          <p:cNvPr id="15" name="文本框 14">
            <a:extLst>
              <a:ext uri="{FF2B5EF4-FFF2-40B4-BE49-F238E27FC236}">
                <a16:creationId xmlns:a16="http://schemas.microsoft.com/office/drawing/2014/main" id="{BD765743-D004-41C3-AE1C-CAC623E973A3}"/>
              </a:ext>
            </a:extLst>
          </p:cNvPr>
          <p:cNvSpPr txBox="1"/>
          <p:nvPr/>
        </p:nvSpPr>
        <p:spPr>
          <a:xfrm>
            <a:off x="10121900" y="659368"/>
            <a:ext cx="1469441" cy="369332"/>
          </a:xfrm>
          <a:prstGeom prst="rect">
            <a:avLst/>
          </a:prstGeom>
          <a:noFill/>
        </p:spPr>
        <p:txBody>
          <a:bodyPr wrap="none" rtlCol="0">
            <a:spAutoFit/>
          </a:bodyPr>
          <a:lstStyle/>
          <a:p>
            <a:r>
              <a:rPr lang="en-US" altLang="zh-CN" spc="-150" dirty="0"/>
              <a:t>MXA DS Team</a:t>
            </a:r>
            <a:endParaRPr lang="zh-CN" altLang="en-US" spc="-150" dirty="0"/>
          </a:p>
        </p:txBody>
      </p:sp>
      <p:sp>
        <p:nvSpPr>
          <p:cNvPr id="16" name="矩形 15">
            <a:extLst>
              <a:ext uri="{FF2B5EF4-FFF2-40B4-BE49-F238E27FC236}">
                <a16:creationId xmlns:a16="http://schemas.microsoft.com/office/drawing/2014/main" id="{C2AC5FAD-1033-405A-9E50-E7505300E65C}"/>
              </a:ext>
            </a:extLst>
          </p:cNvPr>
          <p:cNvSpPr/>
          <p:nvPr/>
        </p:nvSpPr>
        <p:spPr>
          <a:xfrm>
            <a:off x="6096000" y="2513644"/>
            <a:ext cx="3439886" cy="6249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标题 3"/>
          <p:cNvSpPr>
            <a:spLocks noGrp="1"/>
          </p:cNvSpPr>
          <p:nvPr>
            <p:ph type="ctrTitle"/>
          </p:nvPr>
        </p:nvSpPr>
        <p:spPr>
          <a:xfrm>
            <a:off x="6096000" y="1781074"/>
            <a:ext cx="5422436" cy="1966060"/>
          </a:xfrm>
          <a:ln>
            <a:noFill/>
          </a:ln>
        </p:spPr>
        <p:txBody>
          <a:bodyPr>
            <a:normAutofit fontScale="90000"/>
          </a:bodyPr>
          <a:lstStyle/>
          <a:p>
            <a:pPr>
              <a:lnSpc>
                <a:spcPct val="150000"/>
              </a:lnSpc>
            </a:pPr>
            <a:r>
              <a:rPr lang="en-US" altLang="zh-CN" dirty="0">
                <a:solidFill>
                  <a:schemeClr val="bg1"/>
                </a:solidFill>
              </a:rPr>
              <a:t>CTE </a:t>
            </a:r>
            <a:br>
              <a:rPr lang="zh-CN" altLang="en-US" dirty="0">
                <a:solidFill>
                  <a:schemeClr val="bg1"/>
                </a:solidFill>
              </a:rPr>
            </a:br>
            <a:r>
              <a:rPr lang="en-US" altLang="zh-CN" dirty="0">
                <a:solidFill>
                  <a:schemeClr val="bg1"/>
                </a:solidFill>
              </a:rPr>
              <a:t>New Member </a:t>
            </a:r>
            <a:br>
              <a:rPr lang="en-US" altLang="zh-CN" dirty="0">
                <a:solidFill>
                  <a:schemeClr val="bg1"/>
                </a:solidFill>
              </a:rPr>
            </a:br>
            <a:r>
              <a:rPr lang="en-US" altLang="zh-CN" dirty="0">
                <a:solidFill>
                  <a:schemeClr val="bg1"/>
                </a:solidFill>
              </a:rPr>
              <a:t>Self-INTRODUCTION</a:t>
            </a:r>
            <a:endParaRPr lang="zh-CN" altLang="en-US" dirty="0">
              <a:solidFill>
                <a:schemeClr val="bg1"/>
              </a:solidFill>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73366" y="2470792"/>
            <a:ext cx="5419185" cy="895350"/>
          </a:xfrm>
        </p:spPr>
        <p:txBody>
          <a:bodyPr/>
          <a:lstStyle/>
          <a:p>
            <a:r>
              <a:rPr lang="en-US" altLang="zh-CN" dirty="0"/>
              <a:t>Future development</a:t>
            </a:r>
            <a:endParaRPr lang="zh-CN" altLang="en-US" dirty="0"/>
          </a:p>
        </p:txBody>
      </p:sp>
      <p:sp>
        <p:nvSpPr>
          <p:cNvPr id="6" name="文本占位符 5"/>
          <p:cNvSpPr>
            <a:spLocks noGrp="1"/>
          </p:cNvSpPr>
          <p:nvPr>
            <p:ph type="body" idx="1"/>
          </p:nvPr>
        </p:nvSpPr>
        <p:spPr>
          <a:xfrm>
            <a:off x="5574482" y="3366142"/>
            <a:ext cx="5419185" cy="1015623"/>
          </a:xfrm>
        </p:spPr>
        <p:txBody>
          <a:bodyPr/>
          <a:lstStyle/>
          <a:p>
            <a:pPr lvl="0">
              <a:lnSpc>
                <a:spcPct val="100000"/>
              </a:lnSpc>
            </a:pPr>
            <a:r>
              <a:rPr lang="en-US" altLang="zh-CN" dirty="0"/>
              <a:t>What I want to do in Micr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2645466"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061137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âdataâçå¾çæç´¢ç»æ">
            <a:extLst>
              <a:ext uri="{FF2B5EF4-FFF2-40B4-BE49-F238E27FC236}">
                <a16:creationId xmlns:a16="http://schemas.microsoft.com/office/drawing/2014/main" id="{2080837D-5601-4E48-9715-FC9E2A6107E4}"/>
              </a:ext>
            </a:extLst>
          </p:cNvPr>
          <p:cNvPicPr>
            <a:picLocks noChangeAspect="1" noChangeArrowheads="1"/>
          </p:cNvPicPr>
          <p:nvPr/>
        </p:nvPicPr>
        <p:blipFill>
          <a:blip r:embed="rId2">
            <a:clrChange>
              <a:clrFrom>
                <a:srgbClr val="FCF8F0"/>
              </a:clrFrom>
              <a:clrTo>
                <a:srgbClr val="FCF8F0">
                  <a:alpha val="0"/>
                </a:srgbClr>
              </a:clrTo>
            </a:clrChange>
            <a:extLst>
              <a:ext uri="{BEBA8EAE-BF5A-486C-A8C5-ECC9F3942E4B}">
                <a14:imgProps xmlns:a14="http://schemas.microsoft.com/office/drawing/2010/main">
                  <a14:imgLayer r:embed="rId3">
                    <a14:imgEffect>
                      <a14:artisticLineDrawing/>
                    </a14:imgEffect>
                  </a14:imgLayer>
                </a14:imgProps>
              </a:ext>
              <a:ext uri="{28A0092B-C50C-407E-A947-70E740481C1C}">
                <a14:useLocalDpi xmlns:a14="http://schemas.microsoft.com/office/drawing/2010/main" val="0"/>
              </a:ext>
            </a:extLst>
          </a:blip>
          <a:srcRect/>
          <a:stretch>
            <a:fillRect/>
          </a:stretch>
        </p:blipFill>
        <p:spPr bwMode="auto">
          <a:xfrm>
            <a:off x="0" y="0"/>
            <a:ext cx="12192000" cy="681272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61C5EF4-E8B4-4753-B1EF-C9CB32042D59}"/>
              </a:ext>
            </a:extLst>
          </p:cNvPr>
          <p:cNvSpPr txBox="1"/>
          <p:nvPr/>
        </p:nvSpPr>
        <p:spPr>
          <a:xfrm>
            <a:off x="669925" y="2344386"/>
            <a:ext cx="9159875" cy="3539430"/>
          </a:xfrm>
          <a:prstGeom prst="rect">
            <a:avLst/>
          </a:prstGeom>
          <a:noFill/>
        </p:spPr>
        <p:txBody>
          <a:bodyPr wrap="square" rtlCol="0">
            <a:spAutoFit/>
          </a:bodyPr>
          <a:lstStyle/>
          <a:p>
            <a:r>
              <a:rPr lang="en-US" sz="4000" b="1" dirty="0">
                <a:solidFill>
                  <a:srgbClr val="C7450B"/>
                </a:solidFill>
                <a:latin typeface="Bahnschrift" panose="020B0502040204020203" pitchFamily="34" charset="0"/>
              </a:rPr>
              <a:t>Ethan’s Manifesto</a:t>
            </a:r>
            <a:r>
              <a:rPr lang="en-US" sz="3200" b="1" dirty="0">
                <a:solidFill>
                  <a:srgbClr val="C7450B"/>
                </a:solidFill>
                <a:latin typeface="Bell MT" panose="02020503060305020303" pitchFamily="18" charset="0"/>
              </a:rPr>
              <a:t>:</a:t>
            </a:r>
          </a:p>
          <a:p>
            <a:pPr marL="514350" indent="-514350">
              <a:buAutoNum type="arabicPeriod"/>
            </a:pPr>
            <a:r>
              <a:rPr lang="en-US" sz="4000" b="1" i="1" dirty="0">
                <a:latin typeface="Bell MT" panose="02020503060305020303" pitchFamily="18" charset="0"/>
              </a:rPr>
              <a:t>Always prepare for challenge</a:t>
            </a:r>
          </a:p>
          <a:p>
            <a:pPr marL="514350" indent="-514350">
              <a:buAutoNum type="arabicPeriod"/>
            </a:pPr>
            <a:r>
              <a:rPr lang="en-US" sz="4000" b="1" i="1" dirty="0">
                <a:latin typeface="Bell MT" panose="02020503060305020303" pitchFamily="18" charset="0"/>
              </a:rPr>
              <a:t>Make work enjoyable, rewarding</a:t>
            </a:r>
          </a:p>
          <a:p>
            <a:pPr marL="514350" indent="-514350">
              <a:buAutoNum type="arabicPeriod"/>
            </a:pPr>
            <a:r>
              <a:rPr lang="en-US" sz="4000" b="1" i="1" dirty="0">
                <a:latin typeface="Bell MT" panose="02020503060305020303" pitchFamily="18" charset="0"/>
              </a:rPr>
              <a:t>Love of building things makes me great</a:t>
            </a:r>
          </a:p>
          <a:p>
            <a:endParaRPr lang="en-US" sz="2400" dirty="0">
              <a:solidFill>
                <a:srgbClr val="C7450B"/>
              </a:solidFill>
              <a:latin typeface="Bell MT" panose="02020503060305020303" pitchFamily="18" charset="0"/>
            </a:endParaRPr>
          </a:p>
        </p:txBody>
      </p:sp>
    </p:spTree>
    <p:extLst>
      <p:ext uri="{BB962C8B-B14F-4D97-AF65-F5344CB8AC3E}">
        <p14:creationId xmlns:p14="http://schemas.microsoft.com/office/powerpoint/2010/main" val="1562935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8F0EB-ABB7-499A-8ABD-872495EFE9E5}"/>
              </a:ext>
            </a:extLst>
          </p:cNvPr>
          <p:cNvSpPr>
            <a:spLocks noGrp="1"/>
          </p:cNvSpPr>
          <p:nvPr>
            <p:ph type="title"/>
          </p:nvPr>
        </p:nvSpPr>
        <p:spPr/>
        <p:txBody>
          <a:bodyPr/>
          <a:lstStyle/>
          <a:p>
            <a:r>
              <a:rPr lang="en-US" dirty="0"/>
              <a:t>What I know about Micron…</a:t>
            </a:r>
          </a:p>
        </p:txBody>
      </p:sp>
      <p:sp>
        <p:nvSpPr>
          <p:cNvPr id="4" name="Slide Number Placeholder 3">
            <a:extLst>
              <a:ext uri="{FF2B5EF4-FFF2-40B4-BE49-F238E27FC236}">
                <a16:creationId xmlns:a16="http://schemas.microsoft.com/office/drawing/2014/main" id="{AF74A092-E2B0-436B-B26C-BBB226B8D578}"/>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TextBox 4">
            <a:extLst>
              <a:ext uri="{FF2B5EF4-FFF2-40B4-BE49-F238E27FC236}">
                <a16:creationId xmlns:a16="http://schemas.microsoft.com/office/drawing/2014/main" id="{E23CD9E1-5E96-4932-A8E9-36A14C98535B}"/>
              </a:ext>
            </a:extLst>
          </p:cNvPr>
          <p:cNvSpPr txBox="1"/>
          <p:nvPr/>
        </p:nvSpPr>
        <p:spPr>
          <a:xfrm>
            <a:off x="593724" y="1344386"/>
            <a:ext cx="10526033" cy="1384995"/>
          </a:xfrm>
          <a:prstGeom prst="rect">
            <a:avLst/>
          </a:prstGeom>
          <a:noFill/>
        </p:spPr>
        <p:txBody>
          <a:bodyPr wrap="square" rtlCol="0">
            <a:spAutoFit/>
          </a:bodyPr>
          <a:lstStyle/>
          <a:p>
            <a:pPr marL="285750" indent="-285750">
              <a:buFont typeface="Wingdings" panose="05000000000000000000" pitchFamily="2" charset="2"/>
              <a:buChar char="ü"/>
            </a:pPr>
            <a:r>
              <a:rPr lang="en-US" sz="2800" dirty="0">
                <a:ln w="0"/>
                <a:effectLst>
                  <a:outerShdw blurRad="38100" dist="25400" dir="5400000" algn="ctr" rotWithShape="0">
                    <a:srgbClr val="6E747A">
                      <a:alpha val="43000"/>
                    </a:srgbClr>
                  </a:outerShdw>
                </a:effectLst>
                <a:latin typeface="Bell MT" panose="02020503060305020303" pitchFamily="18" charset="0"/>
              </a:rPr>
              <a:t>How do I know Micron?</a:t>
            </a:r>
          </a:p>
          <a:p>
            <a:pPr marL="285750" indent="-285750">
              <a:buFont typeface="Wingdings" panose="05000000000000000000" pitchFamily="2" charset="2"/>
              <a:buChar char="ü"/>
            </a:pPr>
            <a:r>
              <a:rPr lang="en-US" sz="2800" dirty="0">
                <a:ln w="0"/>
                <a:effectLst>
                  <a:outerShdw blurRad="38100" dist="25400" dir="5400000" algn="ctr" rotWithShape="0">
                    <a:srgbClr val="6E747A">
                      <a:alpha val="43000"/>
                    </a:srgbClr>
                  </a:outerShdw>
                </a:effectLst>
                <a:latin typeface="Bell MT" panose="02020503060305020303" pitchFamily="18" charset="0"/>
              </a:rPr>
              <a:t>Why I choose Micron?</a:t>
            </a:r>
          </a:p>
          <a:p>
            <a:pPr marL="285750" indent="-285750">
              <a:buFont typeface="Wingdings" panose="05000000000000000000" pitchFamily="2" charset="2"/>
              <a:buChar char="ü"/>
            </a:pPr>
            <a:r>
              <a:rPr lang="en-US" sz="2800" dirty="0">
                <a:ln w="0"/>
                <a:effectLst>
                  <a:outerShdw blurRad="38100" dist="25400" dir="5400000" algn="ctr" rotWithShape="0">
                    <a:srgbClr val="6E747A">
                      <a:alpha val="43000"/>
                    </a:srgbClr>
                  </a:outerShdw>
                </a:effectLst>
                <a:latin typeface="Bell MT" panose="02020503060305020303" pitchFamily="18" charset="0"/>
              </a:rPr>
              <a:t>When I become a DS engineer, I want to do…</a:t>
            </a:r>
          </a:p>
        </p:txBody>
      </p:sp>
      <p:pic>
        <p:nvPicPr>
          <p:cNvPr id="7" name="Picture 6">
            <a:extLst>
              <a:ext uri="{FF2B5EF4-FFF2-40B4-BE49-F238E27FC236}">
                <a16:creationId xmlns:a16="http://schemas.microsoft.com/office/drawing/2014/main" id="{B8DF450F-6862-4707-AE31-CF84ABB9A0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77716" y="2118470"/>
            <a:ext cx="4242771" cy="4057839"/>
          </a:xfrm>
          <a:prstGeom prst="rect">
            <a:avLst/>
          </a:prstGeom>
        </p:spPr>
      </p:pic>
    </p:spTree>
    <p:extLst>
      <p:ext uri="{BB962C8B-B14F-4D97-AF65-F5344CB8AC3E}">
        <p14:creationId xmlns:p14="http://schemas.microsoft.com/office/powerpoint/2010/main" val="2323015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69925" y="2093952"/>
            <a:ext cx="10845798" cy="1621509"/>
          </a:xfrm>
        </p:spPr>
        <p:txBody>
          <a:bodyPr>
            <a:normAutofit/>
          </a:bodyPr>
          <a:lstStyle/>
          <a:p>
            <a:r>
              <a:rPr lang="en-US" altLang="zh-CN" sz="4800" i="1" dirty="0">
                <a:solidFill>
                  <a:schemeClr val="accent1"/>
                </a:solidFill>
              </a:rPr>
              <a:t>Thanks</a:t>
            </a:r>
            <a:br>
              <a:rPr lang="en-US" altLang="zh-CN" sz="4800" dirty="0"/>
            </a:br>
            <a:r>
              <a:rPr lang="en-US" altLang="zh-CN" sz="4800" dirty="0"/>
              <a:t>And Go Micron!</a:t>
            </a:r>
            <a:endParaRPr lang="zh-CN" altLang="en-US" sz="4800" dirty="0"/>
          </a:p>
        </p:txBody>
      </p:sp>
      <p:sp>
        <p:nvSpPr>
          <p:cNvPr id="6" name="文本占位符 5"/>
          <p:cNvSpPr>
            <a:spLocks noGrp="1"/>
          </p:cNvSpPr>
          <p:nvPr>
            <p:ph type="body" sz="quarter" idx="10"/>
          </p:nvPr>
        </p:nvSpPr>
        <p:spPr>
          <a:xfrm>
            <a:off x="669925" y="3953293"/>
            <a:ext cx="10845798" cy="296271"/>
          </a:xfrm>
        </p:spPr>
        <p:txBody>
          <a:bodyPr/>
          <a:lstStyle/>
          <a:p>
            <a:endParaRPr lang="en-US" altLang="zh-CN" b="1" i="1" dirty="0"/>
          </a:p>
        </p:txBody>
      </p:sp>
      <p:sp>
        <p:nvSpPr>
          <p:cNvPr id="9" name="Text Placeholder 8">
            <a:extLst>
              <a:ext uri="{FF2B5EF4-FFF2-40B4-BE49-F238E27FC236}">
                <a16:creationId xmlns:a16="http://schemas.microsoft.com/office/drawing/2014/main" id="{BC48079E-6420-49BF-B19D-C2BC38EBA8C1}"/>
              </a:ext>
            </a:extLst>
          </p:cNvPr>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8595B"/>
                </a:solidFill>
                <a:effectLst/>
                <a:uLnTx/>
                <a:uFillTx/>
                <a:latin typeface="Arial" panose="020B0604020202020204" pitchFamily="34" charset="0"/>
                <a:ea typeface="+mn-ea"/>
                <a:cs typeface="Arial" panose="020B0604020202020204" pitchFamily="34" charset="0"/>
              </a:rPr>
              <a:t>Micron Confidential</a:t>
            </a:r>
          </a:p>
        </p:txBody>
      </p:sp>
      <p:sp>
        <p:nvSpPr>
          <p:cNvPr id="8" name="Slide Number Placeholder 7"/>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7E7695C-FCF1-4AA0-9B93-7941FED13DC4}" type="slidenum">
              <a:rPr kumimoji="0" lang="en-US" sz="1100" b="1" i="0" u="none" strike="noStrike" kern="1200" cap="none" spc="0" normalizeH="0" baseline="0" noProof="0" smtClean="0">
                <a:ln>
                  <a:noFill/>
                </a:ln>
                <a:solidFill>
                  <a:srgbClr val="58595B"/>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100" b="1" i="0" u="none" strike="noStrike" kern="1200" cap="none" spc="0" normalizeH="0" baseline="0" noProof="0">
              <a:ln>
                <a:noFill/>
              </a:ln>
              <a:solidFill>
                <a:srgbClr val="58595B"/>
              </a:solidFill>
              <a:effectLst/>
              <a:uLnTx/>
              <a:uFillTx/>
              <a:latin typeface="Arial" panose="020B0604020202020204" pitchFamily="34" charset="0"/>
              <a:ea typeface="+mn-ea"/>
              <a:cs typeface="Arial" panose="020B0604020202020204" pitchFamily="34" charset="0"/>
            </a:endParaRPr>
          </a:p>
        </p:txBody>
      </p:sp>
      <p:sp>
        <p:nvSpPr>
          <p:cNvPr id="2" name="Rectangle 1"/>
          <p:cNvSpPr/>
          <p:nvPr/>
        </p:nvSpPr>
        <p:spPr>
          <a:xfrm>
            <a:off x="0" y="0"/>
            <a:ext cx="6126479" cy="34632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o AM I ? </a:t>
            </a:r>
          </a:p>
        </p:txBody>
      </p:sp>
      <p:sp>
        <p:nvSpPr>
          <p:cNvPr id="9" name="Rectangle 8"/>
          <p:cNvSpPr/>
          <p:nvPr/>
        </p:nvSpPr>
        <p:spPr>
          <a:xfrm>
            <a:off x="6096000" y="0"/>
            <a:ext cx="6065521" cy="346329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at I do ? </a:t>
            </a:r>
          </a:p>
        </p:txBody>
      </p:sp>
      <p:sp>
        <p:nvSpPr>
          <p:cNvPr id="10" name="Rectangle 9"/>
          <p:cNvSpPr/>
          <p:nvPr/>
        </p:nvSpPr>
        <p:spPr>
          <a:xfrm>
            <a:off x="0" y="3463137"/>
            <a:ext cx="6126479" cy="346329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at is my hobby ?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0"/>
          <p:cNvSpPr/>
          <p:nvPr/>
        </p:nvSpPr>
        <p:spPr>
          <a:xfrm>
            <a:off x="6126479" y="3463137"/>
            <a:ext cx="6065521" cy="3463290"/>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at do you know about Micron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nything </a:t>
            </a: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you want Team </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member to know </a:t>
            </a:r>
          </a:p>
        </p:txBody>
      </p:sp>
      <p:pic>
        <p:nvPicPr>
          <p:cNvPr id="5" name="Picture 4">
            <a:extLst>
              <a:ext uri="{FF2B5EF4-FFF2-40B4-BE49-F238E27FC236}">
                <a16:creationId xmlns:a16="http://schemas.microsoft.com/office/drawing/2014/main" id="{4B21FCF2-1457-4BC6-B9DE-CBC1D1503A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8274" y="2305411"/>
            <a:ext cx="2315451" cy="2315451"/>
          </a:xfrm>
          <a:prstGeom prst="rect">
            <a:avLst/>
          </a:prstGeom>
        </p:spPr>
      </p:pic>
      <p:sp>
        <p:nvSpPr>
          <p:cNvPr id="13" name="boy-with-headphones_11101">
            <a:extLst>
              <a:ext uri="{FF2B5EF4-FFF2-40B4-BE49-F238E27FC236}">
                <a16:creationId xmlns:a16="http://schemas.microsoft.com/office/drawing/2014/main" id="{E73BF0AD-087F-49CE-9DF6-78C8227433B0}"/>
              </a:ext>
            </a:extLst>
          </p:cNvPr>
          <p:cNvSpPr>
            <a:spLocks noChangeAspect="1"/>
          </p:cNvSpPr>
          <p:nvPr/>
        </p:nvSpPr>
        <p:spPr bwMode="auto">
          <a:xfrm>
            <a:off x="1752614" y="1379094"/>
            <a:ext cx="590522" cy="609685"/>
          </a:xfrm>
          <a:custGeom>
            <a:avLst/>
            <a:gdLst>
              <a:gd name="T0" fmla="*/ 407031 w 604011"/>
              <a:gd name="T1" fmla="*/ 407031 w 604011"/>
              <a:gd name="T2" fmla="*/ 407031 w 604011"/>
              <a:gd name="T3" fmla="*/ 407031 w 604011"/>
              <a:gd name="T4" fmla="*/ 407031 w 604011"/>
              <a:gd name="T5" fmla="*/ 407031 w 604011"/>
              <a:gd name="T6" fmla="*/ 407031 w 604011"/>
              <a:gd name="T7" fmla="*/ 407031 w 604011"/>
              <a:gd name="T8" fmla="*/ 407031 w 604011"/>
              <a:gd name="T9" fmla="*/ 407031 w 604011"/>
              <a:gd name="T10" fmla="*/ 407031 w 604011"/>
              <a:gd name="T11" fmla="*/ 407031 w 604011"/>
              <a:gd name="T12" fmla="*/ 407031 w 604011"/>
              <a:gd name="T13" fmla="*/ 407031 w 604011"/>
              <a:gd name="T14" fmla="*/ 407031 w 604011"/>
              <a:gd name="T15" fmla="*/ 407031 w 604011"/>
              <a:gd name="T16" fmla="*/ 407031 w 604011"/>
              <a:gd name="T17" fmla="*/ 407031 w 604011"/>
              <a:gd name="T18" fmla="*/ 407031 w 604011"/>
              <a:gd name="T19" fmla="*/ 407031 w 604011"/>
              <a:gd name="T20" fmla="*/ 407031 w 604011"/>
              <a:gd name="T21" fmla="*/ 407031 w 604011"/>
              <a:gd name="T22" fmla="*/ 407031 w 604011"/>
              <a:gd name="T23" fmla="*/ 407031 w 604011"/>
              <a:gd name="T24" fmla="*/ 407031 w 604011"/>
              <a:gd name="T25" fmla="*/ 407031 w 604011"/>
              <a:gd name="T26" fmla="*/ 407031 w 604011"/>
              <a:gd name="T27" fmla="*/ 407031 w 604011"/>
              <a:gd name="T28" fmla="*/ 407031 w 604011"/>
              <a:gd name="T29" fmla="*/ 407031 w 604011"/>
              <a:gd name="T30" fmla="*/ 407031 w 604011"/>
              <a:gd name="T31" fmla="*/ 407031 w 604011"/>
              <a:gd name="T32" fmla="*/ 407031 w 604011"/>
              <a:gd name="T33" fmla="*/ 407031 w 604011"/>
              <a:gd name="T34" fmla="*/ 407031 w 604011"/>
              <a:gd name="T35" fmla="*/ 407031 w 604011"/>
              <a:gd name="T36" fmla="*/ 407031 w 604011"/>
              <a:gd name="T37" fmla="*/ 407031 w 604011"/>
              <a:gd name="T38" fmla="*/ 407031 w 604011"/>
              <a:gd name="T39" fmla="*/ 407031 w 604011"/>
              <a:gd name="T40" fmla="*/ 407031 w 604011"/>
              <a:gd name="T41" fmla="*/ 407031 w 604011"/>
              <a:gd name="T42" fmla="*/ 407031 w 604011"/>
              <a:gd name="T43" fmla="*/ 407031 w 604011"/>
              <a:gd name="T44" fmla="*/ 407031 w 604011"/>
              <a:gd name="T45" fmla="*/ 407031 w 604011"/>
              <a:gd name="T46" fmla="*/ 407031 w 604011"/>
              <a:gd name="T47" fmla="*/ 407031 w 604011"/>
              <a:gd name="T48" fmla="*/ 407031 w 604011"/>
              <a:gd name="T49" fmla="*/ 407031 w 604011"/>
              <a:gd name="T50" fmla="*/ 407031 w 604011"/>
              <a:gd name="T51" fmla="*/ 407031 w 604011"/>
              <a:gd name="T52" fmla="*/ 407031 w 604011"/>
              <a:gd name="T53" fmla="*/ 407031 w 604011"/>
              <a:gd name="T54" fmla="*/ 407031 w 604011"/>
              <a:gd name="T55" fmla="*/ 407031 w 604011"/>
              <a:gd name="T56" fmla="*/ 407031 w 604011"/>
              <a:gd name="T57" fmla="*/ 407031 w 604011"/>
              <a:gd name="T58" fmla="*/ 407031 w 604011"/>
              <a:gd name="T59" fmla="*/ 407031 w 604011"/>
              <a:gd name="T60" fmla="*/ 407031 w 604011"/>
              <a:gd name="T61" fmla="*/ 407031 w 604011"/>
              <a:gd name="T62" fmla="*/ 407031 w 604011"/>
              <a:gd name="T63" fmla="*/ 40703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363">
                <a:moveTo>
                  <a:pt x="145" y="248"/>
                </a:moveTo>
                <a:cubicBezTo>
                  <a:pt x="145" y="238"/>
                  <a:pt x="137" y="229"/>
                  <a:pt x="126" y="229"/>
                </a:cubicBezTo>
                <a:cubicBezTo>
                  <a:pt x="116" y="229"/>
                  <a:pt x="107" y="238"/>
                  <a:pt x="107" y="248"/>
                </a:cubicBezTo>
                <a:cubicBezTo>
                  <a:pt x="107" y="259"/>
                  <a:pt x="116" y="267"/>
                  <a:pt x="126" y="267"/>
                </a:cubicBezTo>
                <a:cubicBezTo>
                  <a:pt x="137" y="267"/>
                  <a:pt x="145" y="259"/>
                  <a:pt x="145" y="248"/>
                </a:cubicBezTo>
                <a:close/>
                <a:moveTo>
                  <a:pt x="130" y="260"/>
                </a:moveTo>
                <a:cubicBezTo>
                  <a:pt x="125" y="260"/>
                  <a:pt x="120" y="256"/>
                  <a:pt x="120" y="251"/>
                </a:cubicBezTo>
                <a:cubicBezTo>
                  <a:pt x="120" y="245"/>
                  <a:pt x="125" y="241"/>
                  <a:pt x="130" y="241"/>
                </a:cubicBezTo>
                <a:cubicBezTo>
                  <a:pt x="135" y="241"/>
                  <a:pt x="140" y="245"/>
                  <a:pt x="140" y="251"/>
                </a:cubicBezTo>
                <a:cubicBezTo>
                  <a:pt x="140" y="256"/>
                  <a:pt x="135" y="260"/>
                  <a:pt x="130" y="260"/>
                </a:cubicBezTo>
                <a:close/>
                <a:moveTo>
                  <a:pt x="204" y="248"/>
                </a:moveTo>
                <a:cubicBezTo>
                  <a:pt x="204" y="259"/>
                  <a:pt x="212" y="267"/>
                  <a:pt x="223" y="267"/>
                </a:cubicBezTo>
                <a:cubicBezTo>
                  <a:pt x="233" y="267"/>
                  <a:pt x="242" y="259"/>
                  <a:pt x="242" y="248"/>
                </a:cubicBezTo>
                <a:cubicBezTo>
                  <a:pt x="242" y="238"/>
                  <a:pt x="233" y="229"/>
                  <a:pt x="223" y="229"/>
                </a:cubicBezTo>
                <a:cubicBezTo>
                  <a:pt x="212" y="229"/>
                  <a:pt x="204" y="238"/>
                  <a:pt x="204" y="248"/>
                </a:cubicBezTo>
                <a:close/>
                <a:moveTo>
                  <a:pt x="219" y="241"/>
                </a:moveTo>
                <a:cubicBezTo>
                  <a:pt x="224" y="241"/>
                  <a:pt x="229" y="245"/>
                  <a:pt x="229" y="251"/>
                </a:cubicBezTo>
                <a:cubicBezTo>
                  <a:pt x="229" y="256"/>
                  <a:pt x="224" y="260"/>
                  <a:pt x="219" y="260"/>
                </a:cubicBezTo>
                <a:cubicBezTo>
                  <a:pt x="214" y="260"/>
                  <a:pt x="209" y="256"/>
                  <a:pt x="209" y="251"/>
                </a:cubicBezTo>
                <a:cubicBezTo>
                  <a:pt x="209" y="245"/>
                  <a:pt x="214" y="241"/>
                  <a:pt x="219" y="241"/>
                </a:cubicBezTo>
                <a:close/>
                <a:moveTo>
                  <a:pt x="133" y="296"/>
                </a:moveTo>
                <a:lnTo>
                  <a:pt x="214" y="296"/>
                </a:lnTo>
                <a:cubicBezTo>
                  <a:pt x="214" y="296"/>
                  <a:pt x="175" y="339"/>
                  <a:pt x="133" y="296"/>
                </a:cubicBezTo>
                <a:close/>
                <a:moveTo>
                  <a:pt x="335" y="150"/>
                </a:moveTo>
                <a:lnTo>
                  <a:pt x="335" y="149"/>
                </a:lnTo>
                <a:cubicBezTo>
                  <a:pt x="336" y="147"/>
                  <a:pt x="336" y="144"/>
                  <a:pt x="336" y="142"/>
                </a:cubicBezTo>
                <a:cubicBezTo>
                  <a:pt x="336" y="94"/>
                  <a:pt x="318" y="74"/>
                  <a:pt x="286" y="44"/>
                </a:cubicBezTo>
                <a:cubicBezTo>
                  <a:pt x="254" y="16"/>
                  <a:pt x="222" y="0"/>
                  <a:pt x="175" y="0"/>
                </a:cubicBezTo>
                <a:cubicBezTo>
                  <a:pt x="128" y="0"/>
                  <a:pt x="96" y="16"/>
                  <a:pt x="65" y="44"/>
                </a:cubicBezTo>
                <a:cubicBezTo>
                  <a:pt x="32" y="74"/>
                  <a:pt x="15" y="94"/>
                  <a:pt x="15" y="142"/>
                </a:cubicBezTo>
                <a:cubicBezTo>
                  <a:pt x="15" y="144"/>
                  <a:pt x="15" y="145"/>
                  <a:pt x="15" y="147"/>
                </a:cubicBezTo>
                <a:lnTo>
                  <a:pt x="15" y="150"/>
                </a:lnTo>
                <a:cubicBezTo>
                  <a:pt x="7" y="150"/>
                  <a:pt x="0" y="157"/>
                  <a:pt x="0" y="165"/>
                </a:cubicBezTo>
                <a:lnTo>
                  <a:pt x="0" y="266"/>
                </a:lnTo>
                <a:cubicBezTo>
                  <a:pt x="0" y="275"/>
                  <a:pt x="7" y="282"/>
                  <a:pt x="16" y="282"/>
                </a:cubicBezTo>
                <a:lnTo>
                  <a:pt x="22" y="282"/>
                </a:lnTo>
                <a:cubicBezTo>
                  <a:pt x="25" y="285"/>
                  <a:pt x="29" y="287"/>
                  <a:pt x="33" y="287"/>
                </a:cubicBezTo>
                <a:lnTo>
                  <a:pt x="50" y="287"/>
                </a:lnTo>
                <a:cubicBezTo>
                  <a:pt x="50" y="287"/>
                  <a:pt x="51" y="286"/>
                  <a:pt x="52" y="286"/>
                </a:cubicBezTo>
                <a:cubicBezTo>
                  <a:pt x="77" y="332"/>
                  <a:pt x="122" y="363"/>
                  <a:pt x="174" y="363"/>
                </a:cubicBezTo>
                <a:cubicBezTo>
                  <a:pt x="225" y="363"/>
                  <a:pt x="270" y="332"/>
                  <a:pt x="296" y="286"/>
                </a:cubicBezTo>
                <a:cubicBezTo>
                  <a:pt x="297" y="286"/>
                  <a:pt x="299" y="287"/>
                  <a:pt x="301" y="287"/>
                </a:cubicBezTo>
                <a:lnTo>
                  <a:pt x="317" y="287"/>
                </a:lnTo>
                <a:cubicBezTo>
                  <a:pt x="322" y="287"/>
                  <a:pt x="326" y="285"/>
                  <a:pt x="329" y="282"/>
                </a:cubicBezTo>
                <a:lnTo>
                  <a:pt x="335" y="282"/>
                </a:lnTo>
                <a:cubicBezTo>
                  <a:pt x="343" y="282"/>
                  <a:pt x="351" y="275"/>
                  <a:pt x="351" y="266"/>
                </a:cubicBezTo>
                <a:lnTo>
                  <a:pt x="351" y="165"/>
                </a:lnTo>
                <a:cubicBezTo>
                  <a:pt x="351" y="157"/>
                  <a:pt x="344" y="150"/>
                  <a:pt x="335" y="150"/>
                </a:cubicBezTo>
                <a:close/>
                <a:moveTo>
                  <a:pt x="284" y="264"/>
                </a:moveTo>
                <a:cubicBezTo>
                  <a:pt x="264" y="309"/>
                  <a:pt x="222" y="341"/>
                  <a:pt x="174" y="341"/>
                </a:cubicBezTo>
                <a:cubicBezTo>
                  <a:pt x="128" y="341"/>
                  <a:pt x="88" y="313"/>
                  <a:pt x="66" y="271"/>
                </a:cubicBezTo>
                <a:cubicBezTo>
                  <a:pt x="66" y="271"/>
                  <a:pt x="67" y="271"/>
                  <a:pt x="67" y="270"/>
                </a:cubicBezTo>
                <a:lnTo>
                  <a:pt x="67" y="199"/>
                </a:lnTo>
                <a:lnTo>
                  <a:pt x="92" y="199"/>
                </a:lnTo>
                <a:lnTo>
                  <a:pt x="148" y="157"/>
                </a:lnTo>
                <a:lnTo>
                  <a:pt x="126" y="199"/>
                </a:lnTo>
                <a:cubicBezTo>
                  <a:pt x="126" y="199"/>
                  <a:pt x="222" y="219"/>
                  <a:pt x="284" y="203"/>
                </a:cubicBezTo>
                <a:lnTo>
                  <a:pt x="284" y="264"/>
                </a:lnTo>
                <a:close/>
                <a:moveTo>
                  <a:pt x="309" y="145"/>
                </a:moveTo>
                <a:cubicBezTo>
                  <a:pt x="288" y="88"/>
                  <a:pt x="235" y="57"/>
                  <a:pt x="174" y="57"/>
                </a:cubicBezTo>
                <a:cubicBezTo>
                  <a:pt x="112" y="57"/>
                  <a:pt x="59" y="88"/>
                  <a:pt x="39" y="144"/>
                </a:cubicBezTo>
                <a:cubicBezTo>
                  <a:pt x="40" y="68"/>
                  <a:pt x="89" y="22"/>
                  <a:pt x="179" y="22"/>
                </a:cubicBezTo>
                <a:cubicBezTo>
                  <a:pt x="259" y="22"/>
                  <a:pt x="311" y="68"/>
                  <a:pt x="312" y="145"/>
                </a:cubicBezTo>
                <a:lnTo>
                  <a:pt x="309" y="145"/>
                </a:lnTo>
                <a:close/>
              </a:path>
            </a:pathLst>
          </a:custGeom>
          <a:solidFill>
            <a:schemeClr val="bg1"/>
          </a:solidFill>
          <a:ln>
            <a:noFill/>
          </a:ln>
        </p:spPr>
      </p:sp>
      <p:sp>
        <p:nvSpPr>
          <p:cNvPr id="14" name="hand-graving-smartphone_21520">
            <a:extLst>
              <a:ext uri="{FF2B5EF4-FFF2-40B4-BE49-F238E27FC236}">
                <a16:creationId xmlns:a16="http://schemas.microsoft.com/office/drawing/2014/main" id="{8FEB7964-E30F-47CB-A519-495DE5AE43F0}"/>
              </a:ext>
            </a:extLst>
          </p:cNvPr>
          <p:cNvSpPr>
            <a:spLocks noChangeAspect="1"/>
          </p:cNvSpPr>
          <p:nvPr/>
        </p:nvSpPr>
        <p:spPr bwMode="auto">
          <a:xfrm>
            <a:off x="7810881" y="1426802"/>
            <a:ext cx="589634" cy="609685"/>
          </a:xfrm>
          <a:custGeom>
            <a:avLst/>
            <a:gdLst>
              <a:gd name="connsiteX0" fmla="*/ 360819 w 582217"/>
              <a:gd name="connsiteY0" fmla="*/ 541427 h 602015"/>
              <a:gd name="connsiteX1" fmla="*/ 340164 w 582217"/>
              <a:gd name="connsiteY1" fmla="*/ 561408 h 602015"/>
              <a:gd name="connsiteX2" fmla="*/ 360819 w 582217"/>
              <a:gd name="connsiteY2" fmla="*/ 582034 h 602015"/>
              <a:gd name="connsiteX3" fmla="*/ 380829 w 582217"/>
              <a:gd name="connsiteY3" fmla="*/ 561408 h 602015"/>
              <a:gd name="connsiteX4" fmla="*/ 360819 w 582217"/>
              <a:gd name="connsiteY4" fmla="*/ 541427 h 602015"/>
              <a:gd name="connsiteX5" fmla="*/ 481509 w 582217"/>
              <a:gd name="connsiteY5" fmla="*/ 357084 h 602015"/>
              <a:gd name="connsiteX6" fmla="*/ 542192 w 582217"/>
              <a:gd name="connsiteY6" fmla="*/ 357084 h 602015"/>
              <a:gd name="connsiteX7" fmla="*/ 549939 w 582217"/>
              <a:gd name="connsiteY7" fmla="*/ 357084 h 602015"/>
              <a:gd name="connsiteX8" fmla="*/ 582217 w 582217"/>
              <a:gd name="connsiteY8" fmla="*/ 389315 h 602015"/>
              <a:gd name="connsiteX9" fmla="*/ 582217 w 582217"/>
              <a:gd name="connsiteY9" fmla="*/ 392538 h 602015"/>
              <a:gd name="connsiteX10" fmla="*/ 549939 w 582217"/>
              <a:gd name="connsiteY10" fmla="*/ 424769 h 602015"/>
              <a:gd name="connsiteX11" fmla="*/ 542192 w 582217"/>
              <a:gd name="connsiteY11" fmla="*/ 424769 h 602015"/>
              <a:gd name="connsiteX12" fmla="*/ 489902 w 582217"/>
              <a:gd name="connsiteY12" fmla="*/ 424769 h 602015"/>
              <a:gd name="connsiteX13" fmla="*/ 481509 w 582217"/>
              <a:gd name="connsiteY13" fmla="*/ 424769 h 602015"/>
              <a:gd name="connsiteX14" fmla="*/ 449231 w 582217"/>
              <a:gd name="connsiteY14" fmla="*/ 392538 h 602015"/>
              <a:gd name="connsiteX15" fmla="*/ 449231 w 582217"/>
              <a:gd name="connsiteY15" fmla="*/ 389315 h 602015"/>
              <a:gd name="connsiteX16" fmla="*/ 481509 w 582217"/>
              <a:gd name="connsiteY16" fmla="*/ 357084 h 602015"/>
              <a:gd name="connsiteX17" fmla="*/ 481570 w 582217"/>
              <a:gd name="connsiteY17" fmla="*/ 276545 h 602015"/>
              <a:gd name="connsiteX18" fmla="*/ 489957 w 582217"/>
              <a:gd name="connsiteY18" fmla="*/ 276545 h 602015"/>
              <a:gd name="connsiteX19" fmla="*/ 549958 w 582217"/>
              <a:gd name="connsiteY19" fmla="*/ 276545 h 602015"/>
              <a:gd name="connsiteX20" fmla="*/ 582217 w 582217"/>
              <a:gd name="connsiteY20" fmla="*/ 308765 h 602015"/>
              <a:gd name="connsiteX21" fmla="*/ 582217 w 582217"/>
              <a:gd name="connsiteY21" fmla="*/ 312632 h 602015"/>
              <a:gd name="connsiteX22" fmla="*/ 549958 w 582217"/>
              <a:gd name="connsiteY22" fmla="*/ 344852 h 602015"/>
              <a:gd name="connsiteX23" fmla="*/ 542216 w 582217"/>
              <a:gd name="connsiteY23" fmla="*/ 344852 h 602015"/>
              <a:gd name="connsiteX24" fmla="*/ 481570 w 582217"/>
              <a:gd name="connsiteY24" fmla="*/ 344852 h 602015"/>
              <a:gd name="connsiteX25" fmla="*/ 449956 w 582217"/>
              <a:gd name="connsiteY25" fmla="*/ 312632 h 602015"/>
              <a:gd name="connsiteX26" fmla="*/ 449956 w 582217"/>
              <a:gd name="connsiteY26" fmla="*/ 308765 h 602015"/>
              <a:gd name="connsiteX27" fmla="*/ 481570 w 582217"/>
              <a:gd name="connsiteY27" fmla="*/ 276545 h 602015"/>
              <a:gd name="connsiteX28" fmla="*/ 317573 w 582217"/>
              <a:gd name="connsiteY28" fmla="*/ 29650 h 602015"/>
              <a:gd name="connsiteX29" fmla="*/ 312409 w 582217"/>
              <a:gd name="connsiteY29" fmla="*/ 34161 h 602015"/>
              <a:gd name="connsiteX30" fmla="*/ 317573 w 582217"/>
              <a:gd name="connsiteY30" fmla="*/ 39318 h 602015"/>
              <a:gd name="connsiteX31" fmla="*/ 403421 w 582217"/>
              <a:gd name="connsiteY31" fmla="*/ 39318 h 602015"/>
              <a:gd name="connsiteX32" fmla="*/ 408585 w 582217"/>
              <a:gd name="connsiteY32" fmla="*/ 34161 h 602015"/>
              <a:gd name="connsiteX33" fmla="*/ 403421 w 582217"/>
              <a:gd name="connsiteY33" fmla="*/ 29650 h 602015"/>
              <a:gd name="connsiteX34" fmla="*/ 225916 w 582217"/>
              <a:gd name="connsiteY34" fmla="*/ 0 h 602015"/>
              <a:gd name="connsiteX35" fmla="*/ 495078 w 582217"/>
              <a:gd name="connsiteY35" fmla="*/ 0 h 602015"/>
              <a:gd name="connsiteX36" fmla="*/ 535743 w 582217"/>
              <a:gd name="connsiteY36" fmla="*/ 40607 h 602015"/>
              <a:gd name="connsiteX37" fmla="*/ 535743 w 582217"/>
              <a:gd name="connsiteY37" fmla="*/ 196589 h 602015"/>
              <a:gd name="connsiteX38" fmla="*/ 549943 w 582217"/>
              <a:gd name="connsiteY38" fmla="*/ 196589 h 602015"/>
              <a:gd name="connsiteX39" fmla="*/ 582217 w 582217"/>
              <a:gd name="connsiteY39" fmla="*/ 228817 h 602015"/>
              <a:gd name="connsiteX40" fmla="*/ 582217 w 582217"/>
              <a:gd name="connsiteY40" fmla="*/ 232040 h 602015"/>
              <a:gd name="connsiteX41" fmla="*/ 549943 w 582217"/>
              <a:gd name="connsiteY41" fmla="*/ 264268 h 602015"/>
              <a:gd name="connsiteX42" fmla="*/ 542198 w 582217"/>
              <a:gd name="connsiteY42" fmla="*/ 264268 h 602015"/>
              <a:gd name="connsiteX43" fmla="*/ 489914 w 582217"/>
              <a:gd name="connsiteY43" fmla="*/ 264268 h 602015"/>
              <a:gd name="connsiteX44" fmla="*/ 481523 w 582217"/>
              <a:gd name="connsiteY44" fmla="*/ 264268 h 602015"/>
              <a:gd name="connsiteX45" fmla="*/ 449250 w 582217"/>
              <a:gd name="connsiteY45" fmla="*/ 232040 h 602015"/>
              <a:gd name="connsiteX46" fmla="*/ 449250 w 582217"/>
              <a:gd name="connsiteY46" fmla="*/ 228817 h 602015"/>
              <a:gd name="connsiteX47" fmla="*/ 481523 w 582217"/>
              <a:gd name="connsiteY47" fmla="*/ 196589 h 602015"/>
              <a:gd name="connsiteX48" fmla="*/ 489914 w 582217"/>
              <a:gd name="connsiteY48" fmla="*/ 196589 h 602015"/>
              <a:gd name="connsiteX49" fmla="*/ 507342 w 582217"/>
              <a:gd name="connsiteY49" fmla="*/ 196589 h 602015"/>
              <a:gd name="connsiteX50" fmla="*/ 507342 w 582217"/>
              <a:gd name="connsiteY50" fmla="*/ 64456 h 602015"/>
              <a:gd name="connsiteX51" fmla="*/ 213652 w 582217"/>
              <a:gd name="connsiteY51" fmla="*/ 64456 h 602015"/>
              <a:gd name="connsiteX52" fmla="*/ 213652 w 582217"/>
              <a:gd name="connsiteY52" fmla="*/ 136646 h 602015"/>
              <a:gd name="connsiteX53" fmla="*/ 278199 w 582217"/>
              <a:gd name="connsiteY53" fmla="*/ 100551 h 602015"/>
              <a:gd name="connsiteX54" fmla="*/ 331773 w 582217"/>
              <a:gd name="connsiteY54" fmla="*/ 133423 h 602015"/>
              <a:gd name="connsiteX55" fmla="*/ 249798 w 582217"/>
              <a:gd name="connsiteY55" fmla="*/ 210770 h 602015"/>
              <a:gd name="connsiteX56" fmla="*/ 213652 w 582217"/>
              <a:gd name="connsiteY56" fmla="*/ 234618 h 602015"/>
              <a:gd name="connsiteX57" fmla="*/ 213652 w 582217"/>
              <a:gd name="connsiteY57" fmla="*/ 527247 h 602015"/>
              <a:gd name="connsiteX58" fmla="*/ 507342 w 582217"/>
              <a:gd name="connsiteY58" fmla="*/ 527247 h 602015"/>
              <a:gd name="connsiteX59" fmla="*/ 507342 w 582217"/>
              <a:gd name="connsiteY59" fmla="*/ 505332 h 602015"/>
              <a:gd name="connsiteX60" fmla="*/ 481523 w 582217"/>
              <a:gd name="connsiteY60" fmla="*/ 505332 h 602015"/>
              <a:gd name="connsiteX61" fmla="*/ 449895 w 582217"/>
              <a:gd name="connsiteY61" fmla="*/ 473104 h 602015"/>
              <a:gd name="connsiteX62" fmla="*/ 449895 w 582217"/>
              <a:gd name="connsiteY62" fmla="*/ 469237 h 602015"/>
              <a:gd name="connsiteX63" fmla="*/ 481523 w 582217"/>
              <a:gd name="connsiteY63" fmla="*/ 437009 h 602015"/>
              <a:gd name="connsiteX64" fmla="*/ 489914 w 582217"/>
              <a:gd name="connsiteY64" fmla="*/ 437009 h 602015"/>
              <a:gd name="connsiteX65" fmla="*/ 542198 w 582217"/>
              <a:gd name="connsiteY65" fmla="*/ 437009 h 602015"/>
              <a:gd name="connsiteX66" fmla="*/ 549943 w 582217"/>
              <a:gd name="connsiteY66" fmla="*/ 437009 h 602015"/>
              <a:gd name="connsiteX67" fmla="*/ 582217 w 582217"/>
              <a:gd name="connsiteY67" fmla="*/ 469237 h 602015"/>
              <a:gd name="connsiteX68" fmla="*/ 582217 w 582217"/>
              <a:gd name="connsiteY68" fmla="*/ 473104 h 602015"/>
              <a:gd name="connsiteX69" fmla="*/ 549943 w 582217"/>
              <a:gd name="connsiteY69" fmla="*/ 505332 h 602015"/>
              <a:gd name="connsiteX70" fmla="*/ 542198 w 582217"/>
              <a:gd name="connsiteY70" fmla="*/ 505332 h 602015"/>
              <a:gd name="connsiteX71" fmla="*/ 535743 w 582217"/>
              <a:gd name="connsiteY71" fmla="*/ 505332 h 602015"/>
              <a:gd name="connsiteX72" fmla="*/ 535743 w 582217"/>
              <a:gd name="connsiteY72" fmla="*/ 561408 h 602015"/>
              <a:gd name="connsiteX73" fmla="*/ 495078 w 582217"/>
              <a:gd name="connsiteY73" fmla="*/ 602015 h 602015"/>
              <a:gd name="connsiteX74" fmla="*/ 225916 w 582217"/>
              <a:gd name="connsiteY74" fmla="*/ 602015 h 602015"/>
              <a:gd name="connsiteX75" fmla="*/ 185251 w 582217"/>
              <a:gd name="connsiteY75" fmla="*/ 561408 h 602015"/>
              <a:gd name="connsiteX76" fmla="*/ 185251 w 582217"/>
              <a:gd name="connsiteY76" fmla="*/ 515000 h 602015"/>
              <a:gd name="connsiteX77" fmla="*/ 136195 w 582217"/>
              <a:gd name="connsiteY77" fmla="*/ 515000 h 602015"/>
              <a:gd name="connsiteX78" fmla="*/ 25173 w 582217"/>
              <a:gd name="connsiteY78" fmla="*/ 455701 h 602015"/>
              <a:gd name="connsiteX79" fmla="*/ 23882 w 582217"/>
              <a:gd name="connsiteY79" fmla="*/ 453767 h 602015"/>
              <a:gd name="connsiteX80" fmla="*/ 18719 w 582217"/>
              <a:gd name="connsiteY80" fmla="*/ 446033 h 602015"/>
              <a:gd name="connsiteX81" fmla="*/ 15491 w 582217"/>
              <a:gd name="connsiteY81" fmla="*/ 438298 h 602015"/>
              <a:gd name="connsiteX82" fmla="*/ 12264 w 582217"/>
              <a:gd name="connsiteY82" fmla="*/ 431208 h 602015"/>
              <a:gd name="connsiteX83" fmla="*/ 6455 w 582217"/>
              <a:gd name="connsiteY83" fmla="*/ 414449 h 602015"/>
              <a:gd name="connsiteX84" fmla="*/ 5164 w 582217"/>
              <a:gd name="connsiteY84" fmla="*/ 409293 h 602015"/>
              <a:gd name="connsiteX85" fmla="*/ 2582 w 582217"/>
              <a:gd name="connsiteY85" fmla="*/ 393179 h 602015"/>
              <a:gd name="connsiteX86" fmla="*/ 1291 w 582217"/>
              <a:gd name="connsiteY86" fmla="*/ 386733 h 602015"/>
              <a:gd name="connsiteX87" fmla="*/ 0 w 582217"/>
              <a:gd name="connsiteY87" fmla="*/ 362885 h 602015"/>
              <a:gd name="connsiteX88" fmla="*/ 74875 w 582217"/>
              <a:gd name="connsiteY88" fmla="*/ 215282 h 602015"/>
              <a:gd name="connsiteX89" fmla="*/ 185251 w 582217"/>
              <a:gd name="connsiteY89" fmla="*/ 152115 h 602015"/>
              <a:gd name="connsiteX90" fmla="*/ 185251 w 582217"/>
              <a:gd name="connsiteY90" fmla="*/ 40607 h 602015"/>
              <a:gd name="connsiteX91" fmla="*/ 225916 w 582217"/>
              <a:gd name="connsiteY91" fmla="*/ 0 h 6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82217" h="602015">
                <a:moveTo>
                  <a:pt x="360819" y="541427"/>
                </a:moveTo>
                <a:cubicBezTo>
                  <a:pt x="349201" y="541427"/>
                  <a:pt x="340164" y="550451"/>
                  <a:pt x="340164" y="561408"/>
                </a:cubicBezTo>
                <a:cubicBezTo>
                  <a:pt x="340164" y="573010"/>
                  <a:pt x="349201" y="582034"/>
                  <a:pt x="360819" y="582034"/>
                </a:cubicBezTo>
                <a:cubicBezTo>
                  <a:pt x="371793" y="582034"/>
                  <a:pt x="380829" y="573010"/>
                  <a:pt x="380829" y="561408"/>
                </a:cubicBezTo>
                <a:cubicBezTo>
                  <a:pt x="380829" y="550451"/>
                  <a:pt x="371793" y="541427"/>
                  <a:pt x="360819" y="541427"/>
                </a:cubicBezTo>
                <a:close/>
                <a:moveTo>
                  <a:pt x="481509" y="357084"/>
                </a:moveTo>
                <a:lnTo>
                  <a:pt x="542192" y="357084"/>
                </a:lnTo>
                <a:lnTo>
                  <a:pt x="549939" y="357084"/>
                </a:lnTo>
                <a:cubicBezTo>
                  <a:pt x="568015" y="357084"/>
                  <a:pt x="582217" y="371266"/>
                  <a:pt x="582217" y="389315"/>
                </a:cubicBezTo>
                <a:lnTo>
                  <a:pt x="582217" y="392538"/>
                </a:lnTo>
                <a:cubicBezTo>
                  <a:pt x="582217" y="410587"/>
                  <a:pt x="568015" y="424769"/>
                  <a:pt x="549939" y="424769"/>
                </a:cubicBezTo>
                <a:lnTo>
                  <a:pt x="542192" y="424769"/>
                </a:lnTo>
                <a:lnTo>
                  <a:pt x="489902" y="424769"/>
                </a:lnTo>
                <a:lnTo>
                  <a:pt x="481509" y="424769"/>
                </a:lnTo>
                <a:cubicBezTo>
                  <a:pt x="464079" y="424769"/>
                  <a:pt x="449231" y="410587"/>
                  <a:pt x="449231" y="392538"/>
                </a:cubicBezTo>
                <a:lnTo>
                  <a:pt x="449231" y="389315"/>
                </a:lnTo>
                <a:cubicBezTo>
                  <a:pt x="449231" y="371266"/>
                  <a:pt x="464079" y="357084"/>
                  <a:pt x="481509" y="357084"/>
                </a:cubicBezTo>
                <a:close/>
                <a:moveTo>
                  <a:pt x="481570" y="276545"/>
                </a:moveTo>
                <a:lnTo>
                  <a:pt x="489957" y="276545"/>
                </a:lnTo>
                <a:lnTo>
                  <a:pt x="549958" y="276545"/>
                </a:lnTo>
                <a:cubicBezTo>
                  <a:pt x="567378" y="276545"/>
                  <a:pt x="582217" y="291366"/>
                  <a:pt x="582217" y="308765"/>
                </a:cubicBezTo>
                <a:lnTo>
                  <a:pt x="582217" y="312632"/>
                </a:lnTo>
                <a:cubicBezTo>
                  <a:pt x="582217" y="330031"/>
                  <a:pt x="567378" y="344852"/>
                  <a:pt x="549958" y="344852"/>
                </a:cubicBezTo>
                <a:lnTo>
                  <a:pt x="542216" y="344852"/>
                </a:lnTo>
                <a:lnTo>
                  <a:pt x="481570" y="344852"/>
                </a:lnTo>
                <a:cubicBezTo>
                  <a:pt x="464150" y="344852"/>
                  <a:pt x="449956" y="330031"/>
                  <a:pt x="449956" y="312632"/>
                </a:cubicBezTo>
                <a:lnTo>
                  <a:pt x="449956" y="308765"/>
                </a:lnTo>
                <a:cubicBezTo>
                  <a:pt x="449956" y="291366"/>
                  <a:pt x="464150" y="276545"/>
                  <a:pt x="481570" y="276545"/>
                </a:cubicBezTo>
                <a:close/>
                <a:moveTo>
                  <a:pt x="317573" y="29650"/>
                </a:moveTo>
                <a:cubicBezTo>
                  <a:pt x="314991" y="29650"/>
                  <a:pt x="312409" y="31583"/>
                  <a:pt x="312409" y="34161"/>
                </a:cubicBezTo>
                <a:cubicBezTo>
                  <a:pt x="312409" y="36740"/>
                  <a:pt x="314991" y="39318"/>
                  <a:pt x="317573" y="39318"/>
                </a:cubicBezTo>
                <a:lnTo>
                  <a:pt x="403421" y="39318"/>
                </a:lnTo>
                <a:cubicBezTo>
                  <a:pt x="406003" y="39318"/>
                  <a:pt x="408585" y="36740"/>
                  <a:pt x="408585" y="34161"/>
                </a:cubicBezTo>
                <a:cubicBezTo>
                  <a:pt x="408585" y="31583"/>
                  <a:pt x="406003" y="29650"/>
                  <a:pt x="403421" y="29650"/>
                </a:cubicBezTo>
                <a:close/>
                <a:moveTo>
                  <a:pt x="225916" y="0"/>
                </a:moveTo>
                <a:lnTo>
                  <a:pt x="495078" y="0"/>
                </a:lnTo>
                <a:cubicBezTo>
                  <a:pt x="517670" y="0"/>
                  <a:pt x="535743" y="18048"/>
                  <a:pt x="535743" y="40607"/>
                </a:cubicBezTo>
                <a:lnTo>
                  <a:pt x="535743" y="196589"/>
                </a:lnTo>
                <a:lnTo>
                  <a:pt x="549943" y="196589"/>
                </a:lnTo>
                <a:cubicBezTo>
                  <a:pt x="568017" y="196589"/>
                  <a:pt x="582217" y="210770"/>
                  <a:pt x="582217" y="228817"/>
                </a:cubicBezTo>
                <a:lnTo>
                  <a:pt x="582217" y="232040"/>
                </a:lnTo>
                <a:cubicBezTo>
                  <a:pt x="582217" y="250088"/>
                  <a:pt x="567371" y="264268"/>
                  <a:pt x="549943" y="264268"/>
                </a:cubicBezTo>
                <a:lnTo>
                  <a:pt x="542198" y="264268"/>
                </a:lnTo>
                <a:lnTo>
                  <a:pt x="489914" y="264268"/>
                </a:lnTo>
                <a:lnTo>
                  <a:pt x="481523" y="264268"/>
                </a:lnTo>
                <a:cubicBezTo>
                  <a:pt x="464096" y="264268"/>
                  <a:pt x="449250" y="250088"/>
                  <a:pt x="449250" y="232040"/>
                </a:cubicBezTo>
                <a:lnTo>
                  <a:pt x="449250" y="228817"/>
                </a:lnTo>
                <a:cubicBezTo>
                  <a:pt x="449250" y="210770"/>
                  <a:pt x="464096" y="196589"/>
                  <a:pt x="481523" y="196589"/>
                </a:cubicBezTo>
                <a:lnTo>
                  <a:pt x="489914" y="196589"/>
                </a:lnTo>
                <a:lnTo>
                  <a:pt x="507342" y="196589"/>
                </a:lnTo>
                <a:lnTo>
                  <a:pt x="507342" y="64456"/>
                </a:lnTo>
                <a:lnTo>
                  <a:pt x="213652" y="64456"/>
                </a:lnTo>
                <a:lnTo>
                  <a:pt x="213652" y="136646"/>
                </a:lnTo>
                <a:cubicBezTo>
                  <a:pt x="242052" y="120532"/>
                  <a:pt x="266580" y="106996"/>
                  <a:pt x="278199" y="100551"/>
                </a:cubicBezTo>
                <a:cubicBezTo>
                  <a:pt x="316282" y="81214"/>
                  <a:pt x="338228" y="105063"/>
                  <a:pt x="331773" y="133423"/>
                </a:cubicBezTo>
                <a:cubicBezTo>
                  <a:pt x="326609" y="155982"/>
                  <a:pt x="289172" y="179831"/>
                  <a:pt x="249798" y="210770"/>
                </a:cubicBezTo>
                <a:cubicBezTo>
                  <a:pt x="242052" y="216571"/>
                  <a:pt x="228497" y="225594"/>
                  <a:pt x="213652" y="234618"/>
                </a:cubicBezTo>
                <a:lnTo>
                  <a:pt x="213652" y="527247"/>
                </a:lnTo>
                <a:lnTo>
                  <a:pt x="507342" y="527247"/>
                </a:lnTo>
                <a:lnTo>
                  <a:pt x="507342" y="505332"/>
                </a:lnTo>
                <a:lnTo>
                  <a:pt x="481523" y="505332"/>
                </a:lnTo>
                <a:cubicBezTo>
                  <a:pt x="464096" y="505332"/>
                  <a:pt x="449895" y="490507"/>
                  <a:pt x="449895" y="473104"/>
                </a:cubicBezTo>
                <a:lnTo>
                  <a:pt x="449895" y="469237"/>
                </a:lnTo>
                <a:cubicBezTo>
                  <a:pt x="449895" y="451834"/>
                  <a:pt x="464096" y="437009"/>
                  <a:pt x="481523" y="437009"/>
                </a:cubicBezTo>
                <a:lnTo>
                  <a:pt x="489914" y="437009"/>
                </a:lnTo>
                <a:lnTo>
                  <a:pt x="542198" y="437009"/>
                </a:lnTo>
                <a:lnTo>
                  <a:pt x="549943" y="437009"/>
                </a:lnTo>
                <a:cubicBezTo>
                  <a:pt x="567371" y="437009"/>
                  <a:pt x="582217" y="451834"/>
                  <a:pt x="582217" y="469237"/>
                </a:cubicBezTo>
                <a:lnTo>
                  <a:pt x="582217" y="473104"/>
                </a:lnTo>
                <a:cubicBezTo>
                  <a:pt x="582217" y="490507"/>
                  <a:pt x="567371" y="505332"/>
                  <a:pt x="549943" y="505332"/>
                </a:cubicBezTo>
                <a:lnTo>
                  <a:pt x="542198" y="505332"/>
                </a:lnTo>
                <a:lnTo>
                  <a:pt x="535743" y="505332"/>
                </a:lnTo>
                <a:lnTo>
                  <a:pt x="535743" y="561408"/>
                </a:lnTo>
                <a:cubicBezTo>
                  <a:pt x="535743" y="583967"/>
                  <a:pt x="517670" y="602015"/>
                  <a:pt x="495078" y="602015"/>
                </a:cubicBezTo>
                <a:lnTo>
                  <a:pt x="225916" y="602015"/>
                </a:lnTo>
                <a:cubicBezTo>
                  <a:pt x="203969" y="602015"/>
                  <a:pt x="185251" y="583967"/>
                  <a:pt x="185251" y="561408"/>
                </a:cubicBezTo>
                <a:lnTo>
                  <a:pt x="185251" y="515000"/>
                </a:lnTo>
                <a:lnTo>
                  <a:pt x="136195" y="515000"/>
                </a:lnTo>
                <a:cubicBezTo>
                  <a:pt x="136195" y="515000"/>
                  <a:pt x="63902" y="515000"/>
                  <a:pt x="25173" y="455701"/>
                </a:cubicBezTo>
                <a:cubicBezTo>
                  <a:pt x="24528" y="455056"/>
                  <a:pt x="23882" y="454412"/>
                  <a:pt x="23882" y="453767"/>
                </a:cubicBezTo>
                <a:cubicBezTo>
                  <a:pt x="21946" y="451189"/>
                  <a:pt x="20655" y="448611"/>
                  <a:pt x="18719" y="446033"/>
                </a:cubicBezTo>
                <a:cubicBezTo>
                  <a:pt x="17428" y="443454"/>
                  <a:pt x="16782" y="440876"/>
                  <a:pt x="15491" y="438298"/>
                </a:cubicBezTo>
                <a:cubicBezTo>
                  <a:pt x="14200" y="436364"/>
                  <a:pt x="12909" y="433786"/>
                  <a:pt x="12264" y="431208"/>
                </a:cubicBezTo>
                <a:cubicBezTo>
                  <a:pt x="9682" y="426051"/>
                  <a:pt x="8391" y="420250"/>
                  <a:pt x="6455" y="414449"/>
                </a:cubicBezTo>
                <a:cubicBezTo>
                  <a:pt x="5809" y="413160"/>
                  <a:pt x="5809" y="411227"/>
                  <a:pt x="5164" y="409293"/>
                </a:cubicBezTo>
                <a:cubicBezTo>
                  <a:pt x="3873" y="404136"/>
                  <a:pt x="3227" y="398980"/>
                  <a:pt x="2582" y="393179"/>
                </a:cubicBezTo>
                <a:cubicBezTo>
                  <a:pt x="1936" y="391245"/>
                  <a:pt x="1936" y="389312"/>
                  <a:pt x="1291" y="386733"/>
                </a:cubicBezTo>
                <a:cubicBezTo>
                  <a:pt x="645" y="378999"/>
                  <a:pt x="0" y="371264"/>
                  <a:pt x="0" y="362885"/>
                </a:cubicBezTo>
                <a:cubicBezTo>
                  <a:pt x="0" y="267491"/>
                  <a:pt x="44538" y="227528"/>
                  <a:pt x="74875" y="215282"/>
                </a:cubicBezTo>
                <a:cubicBezTo>
                  <a:pt x="75520" y="215282"/>
                  <a:pt x="131031" y="183054"/>
                  <a:pt x="185251" y="152115"/>
                </a:cubicBezTo>
                <a:lnTo>
                  <a:pt x="185251" y="40607"/>
                </a:lnTo>
                <a:cubicBezTo>
                  <a:pt x="185251" y="18048"/>
                  <a:pt x="203969" y="0"/>
                  <a:pt x="225916" y="0"/>
                </a:cubicBezTo>
                <a:close/>
              </a:path>
            </a:pathLst>
          </a:custGeom>
          <a:solidFill>
            <a:schemeClr val="bg1"/>
          </a:solidFill>
          <a:ln>
            <a:noFill/>
          </a:ln>
        </p:spPr>
      </p:sp>
    </p:spTree>
    <p:extLst>
      <p:ext uri="{BB962C8B-B14F-4D97-AF65-F5344CB8AC3E}">
        <p14:creationId xmlns:p14="http://schemas.microsoft.com/office/powerpoint/2010/main" val="1173763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1"/>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sz="2800" b="0" dirty="0">
                    <a:latin typeface="Bell MT" panose="02020503060305020303" pitchFamily="18" charset="0"/>
                    <a:ea typeface="+mn-ea"/>
                    <a:sym typeface="+mn-lt"/>
                  </a:rPr>
                  <a:t>Education Background</a:t>
                </a:r>
              </a:p>
              <a:p>
                <a:pPr marL="342900" indent="-342900">
                  <a:lnSpc>
                    <a:spcPct val="150000"/>
                  </a:lnSpc>
                  <a:buFont typeface="+mj-lt"/>
                  <a:buAutoNum type="arabicPeriod"/>
                </a:pPr>
                <a:r>
                  <a:rPr lang="en-US" altLang="zh-CN" sz="2800" b="0" dirty="0">
                    <a:latin typeface="Bell MT" panose="02020503060305020303" pitchFamily="18" charset="0"/>
                    <a:ea typeface="+mn-ea"/>
                    <a:sym typeface="+mn-lt"/>
                  </a:rPr>
                  <a:t>Project experience</a:t>
                </a:r>
              </a:p>
              <a:p>
                <a:pPr marL="342900" indent="-342900">
                  <a:lnSpc>
                    <a:spcPct val="150000"/>
                  </a:lnSpc>
                  <a:buFont typeface="+mj-lt"/>
                  <a:buAutoNum type="arabicPeriod"/>
                </a:pPr>
                <a:r>
                  <a:rPr lang="en-US" altLang="zh-CN" sz="2800" b="0" dirty="0">
                    <a:latin typeface="Bell MT" panose="02020503060305020303" pitchFamily="18" charset="0"/>
                    <a:ea typeface="+mn-ea"/>
                    <a:sym typeface="+mn-lt"/>
                  </a:rPr>
                  <a:t>Interests/Hobbies</a:t>
                </a:r>
              </a:p>
              <a:p>
                <a:pPr marL="342900" indent="-342900">
                  <a:lnSpc>
                    <a:spcPct val="150000"/>
                  </a:lnSpc>
                  <a:buFont typeface="+mj-lt"/>
                  <a:buAutoNum type="arabicPeriod"/>
                </a:pPr>
                <a:r>
                  <a:rPr lang="en-US" altLang="zh-CN" sz="2800" b="0" dirty="0">
                    <a:latin typeface="Bell MT" panose="02020503060305020303" pitchFamily="18" charset="0"/>
                    <a:ea typeface="+mn-ea"/>
                    <a:sym typeface="+mn-lt"/>
                  </a:rPr>
                  <a:t>Future development</a:t>
                </a: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73366" y="2470792"/>
            <a:ext cx="5419185" cy="895350"/>
          </a:xfrm>
        </p:spPr>
        <p:txBody>
          <a:bodyPr/>
          <a:lstStyle/>
          <a:p>
            <a:r>
              <a:rPr lang="en-US" altLang="zh-CN" dirty="0"/>
              <a:t>Education Background</a:t>
            </a:r>
            <a:endParaRPr lang="zh-CN" altLang="en-US" dirty="0"/>
          </a:p>
        </p:txBody>
      </p:sp>
      <p:sp>
        <p:nvSpPr>
          <p:cNvPr id="6" name="文本占位符 5"/>
          <p:cNvSpPr>
            <a:spLocks noGrp="1"/>
          </p:cNvSpPr>
          <p:nvPr>
            <p:ph type="body" idx="1"/>
          </p:nvPr>
        </p:nvSpPr>
        <p:spPr>
          <a:xfrm>
            <a:off x="5574482" y="3366142"/>
            <a:ext cx="5419185" cy="1015623"/>
          </a:xfrm>
        </p:spPr>
        <p:txBody>
          <a:bodyPr/>
          <a:lstStyle/>
          <a:p>
            <a:pPr lvl="0">
              <a:lnSpc>
                <a:spcPct val="100000"/>
              </a:lnSpc>
            </a:pPr>
            <a:r>
              <a:rPr lang="en-US" altLang="zh-CN" dirty="0"/>
              <a:t>Who am I?</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2645466"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59913-7E4C-4C6C-91E6-BE47639F9C0B}"/>
              </a:ext>
            </a:extLst>
          </p:cNvPr>
          <p:cNvSpPr>
            <a:spLocks noGrp="1"/>
          </p:cNvSpPr>
          <p:nvPr>
            <p:ph type="title"/>
          </p:nvPr>
        </p:nvSpPr>
        <p:spPr/>
        <p:txBody>
          <a:bodyPr/>
          <a:lstStyle/>
          <a:p>
            <a:r>
              <a:rPr lang="en-US" dirty="0"/>
              <a:t>Education Background</a:t>
            </a:r>
          </a:p>
        </p:txBody>
      </p:sp>
      <p:sp>
        <p:nvSpPr>
          <p:cNvPr id="4" name="Slide Number Placeholder 3">
            <a:extLst>
              <a:ext uri="{FF2B5EF4-FFF2-40B4-BE49-F238E27FC236}">
                <a16:creationId xmlns:a16="http://schemas.microsoft.com/office/drawing/2014/main" id="{06DC9839-D460-48A3-A115-F05E2273C124}"/>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24938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EB57E73-48F6-473E-83C2-C4B76CF8CF17}"/>
              </a:ext>
            </a:extLst>
          </p:cNvPr>
          <p:cNvGrpSpPr>
            <a:grpSpLocks noChangeAspect="1"/>
          </p:cNvGrpSpPr>
          <p:nvPr>
            <p:custDataLst>
              <p:tags r:id="rId1"/>
            </p:custDataLst>
          </p:nvPr>
        </p:nvGrpSpPr>
        <p:grpSpPr>
          <a:xfrm>
            <a:off x="669924" y="1503277"/>
            <a:ext cx="10850331" cy="4572634"/>
            <a:chOff x="673100" y="1574166"/>
            <a:chExt cx="10850331" cy="4572634"/>
          </a:xfrm>
        </p:grpSpPr>
        <p:grpSp>
          <p:nvGrpSpPr>
            <p:cNvPr id="6" name="îṡḷiḋé">
              <a:extLst>
                <a:ext uri="{FF2B5EF4-FFF2-40B4-BE49-F238E27FC236}">
                  <a16:creationId xmlns:a16="http://schemas.microsoft.com/office/drawing/2014/main" id="{43DFC004-B41A-4480-86EC-38C9BA930377}"/>
                </a:ext>
              </a:extLst>
            </p:cNvPr>
            <p:cNvGrpSpPr/>
            <p:nvPr/>
          </p:nvGrpSpPr>
          <p:grpSpPr>
            <a:xfrm>
              <a:off x="673100" y="1817173"/>
              <a:ext cx="5131140" cy="3642755"/>
              <a:chOff x="673100" y="1865084"/>
              <a:chExt cx="5131140" cy="3642755"/>
            </a:xfrm>
          </p:grpSpPr>
          <p:grpSp>
            <p:nvGrpSpPr>
              <p:cNvPr id="20" name="îSľiḋé">
                <a:extLst>
                  <a:ext uri="{FF2B5EF4-FFF2-40B4-BE49-F238E27FC236}">
                    <a16:creationId xmlns:a16="http://schemas.microsoft.com/office/drawing/2014/main" id="{F1BECA35-B36C-4C3C-A9AA-C238753EEAF7}"/>
                  </a:ext>
                </a:extLst>
              </p:cNvPr>
              <p:cNvGrpSpPr/>
              <p:nvPr/>
            </p:nvGrpSpPr>
            <p:grpSpPr>
              <a:xfrm>
                <a:off x="673100" y="2849666"/>
                <a:ext cx="5131140" cy="2658173"/>
                <a:chOff x="2459597" y="1610580"/>
                <a:chExt cx="7272808" cy="3767656"/>
              </a:xfrm>
              <a:scene3d>
                <a:camera prst="perspectiveRight"/>
                <a:lightRig rig="threePt" dir="t"/>
              </a:scene3d>
            </p:grpSpPr>
            <p:sp>
              <p:nvSpPr>
                <p:cNvPr id="30" name="íşḷîḑé">
                  <a:extLst>
                    <a:ext uri="{FF2B5EF4-FFF2-40B4-BE49-F238E27FC236}">
                      <a16:creationId xmlns:a16="http://schemas.microsoft.com/office/drawing/2014/main" id="{D7B71F00-AAE9-47A2-9200-98538C02B10B}"/>
                    </a:ext>
                  </a:extLst>
                </p:cNvPr>
                <p:cNvSpPr/>
                <p:nvPr/>
              </p:nvSpPr>
              <p:spPr>
                <a:xfrm>
                  <a:off x="3215253" y="1628800"/>
                  <a:ext cx="5761494" cy="3651552"/>
                </a:xfrm>
                <a:custGeom>
                  <a:avLst/>
                  <a:gdLst>
                    <a:gd name="connsiteX0" fmla="*/ 224028 w 7415784"/>
                    <a:gd name="connsiteY0" fmla="*/ 269748 h 4700016"/>
                    <a:gd name="connsiteX1" fmla="*/ 224028 w 7415784"/>
                    <a:gd name="connsiteY1" fmla="*/ 4430268 h 4700016"/>
                    <a:gd name="connsiteX2" fmla="*/ 7191756 w 7415784"/>
                    <a:gd name="connsiteY2" fmla="*/ 4430268 h 4700016"/>
                    <a:gd name="connsiteX3" fmla="*/ 7191756 w 7415784"/>
                    <a:gd name="connsiteY3" fmla="*/ 269748 h 4700016"/>
                    <a:gd name="connsiteX4" fmla="*/ 266867 w 7415784"/>
                    <a:gd name="connsiteY4" fmla="*/ 0 h 4700016"/>
                    <a:gd name="connsiteX5" fmla="*/ 7148917 w 7415784"/>
                    <a:gd name="connsiteY5" fmla="*/ 0 h 4700016"/>
                    <a:gd name="connsiteX6" fmla="*/ 7415784 w 7415784"/>
                    <a:gd name="connsiteY6" fmla="*/ 266867 h 4700016"/>
                    <a:gd name="connsiteX7" fmla="*/ 7415784 w 7415784"/>
                    <a:gd name="connsiteY7" fmla="*/ 4433149 h 4700016"/>
                    <a:gd name="connsiteX8" fmla="*/ 7148917 w 7415784"/>
                    <a:gd name="connsiteY8" fmla="*/ 4700016 h 4700016"/>
                    <a:gd name="connsiteX9" fmla="*/ 266867 w 7415784"/>
                    <a:gd name="connsiteY9" fmla="*/ 4700016 h 4700016"/>
                    <a:gd name="connsiteX10" fmla="*/ 0 w 7415784"/>
                    <a:gd name="connsiteY10" fmla="*/ 4433149 h 4700016"/>
                    <a:gd name="connsiteX11" fmla="*/ 0 w 7415784"/>
                    <a:gd name="connsiteY11" fmla="*/ 266867 h 4700016"/>
                    <a:gd name="connsiteX12" fmla="*/ 266867 w 7415784"/>
                    <a:gd name="connsiteY12" fmla="*/ 0 h 470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15784" h="4700016">
                      <a:moveTo>
                        <a:pt x="224028" y="269748"/>
                      </a:moveTo>
                      <a:lnTo>
                        <a:pt x="224028" y="4430268"/>
                      </a:lnTo>
                      <a:lnTo>
                        <a:pt x="7191756" y="4430268"/>
                      </a:lnTo>
                      <a:lnTo>
                        <a:pt x="7191756" y="269748"/>
                      </a:lnTo>
                      <a:close/>
                      <a:moveTo>
                        <a:pt x="266867" y="0"/>
                      </a:moveTo>
                      <a:lnTo>
                        <a:pt x="7148917" y="0"/>
                      </a:lnTo>
                      <a:cubicBezTo>
                        <a:pt x="7296304" y="0"/>
                        <a:pt x="7415784" y="119480"/>
                        <a:pt x="7415784" y="266867"/>
                      </a:cubicBezTo>
                      <a:lnTo>
                        <a:pt x="7415784" y="4433149"/>
                      </a:lnTo>
                      <a:cubicBezTo>
                        <a:pt x="7415784" y="4580536"/>
                        <a:pt x="7296304" y="4700016"/>
                        <a:pt x="7148917" y="4700016"/>
                      </a:cubicBezTo>
                      <a:lnTo>
                        <a:pt x="266867" y="4700016"/>
                      </a:lnTo>
                      <a:cubicBezTo>
                        <a:pt x="119480" y="4700016"/>
                        <a:pt x="0" y="4580536"/>
                        <a:pt x="0" y="4433149"/>
                      </a:cubicBezTo>
                      <a:lnTo>
                        <a:pt x="0" y="266867"/>
                      </a:lnTo>
                      <a:cubicBezTo>
                        <a:pt x="0" y="119480"/>
                        <a:pt x="119480" y="0"/>
                        <a:pt x="266867" y="0"/>
                      </a:cubicBezTo>
                      <a:close/>
                    </a:path>
                  </a:pathLst>
                </a:custGeom>
                <a:solidFill>
                  <a:schemeClr val="bg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a:p>
              </p:txBody>
            </p:sp>
            <p:sp>
              <p:nvSpPr>
                <p:cNvPr id="31" name="îSlïḓè">
                  <a:extLst>
                    <a:ext uri="{FF2B5EF4-FFF2-40B4-BE49-F238E27FC236}">
                      <a16:creationId xmlns:a16="http://schemas.microsoft.com/office/drawing/2014/main" id="{4398C1FB-3159-4862-9B92-29D7ED383A90}"/>
                    </a:ext>
                  </a:extLst>
                </p:cNvPr>
                <p:cNvSpPr/>
                <p:nvPr/>
              </p:nvSpPr>
              <p:spPr>
                <a:xfrm>
                  <a:off x="3228836" y="1644767"/>
                  <a:ext cx="5734330" cy="3619617"/>
                </a:xfrm>
                <a:custGeom>
                  <a:avLst/>
                  <a:gdLst>
                    <a:gd name="connsiteX0" fmla="*/ 252028 w 7380820"/>
                    <a:gd name="connsiteY0" fmla="*/ 295230 h 4658912"/>
                    <a:gd name="connsiteX1" fmla="*/ 252028 w 7380820"/>
                    <a:gd name="connsiteY1" fmla="*/ 4363682 h 4658912"/>
                    <a:gd name="connsiteX2" fmla="*/ 7128792 w 7380820"/>
                    <a:gd name="connsiteY2" fmla="*/ 4363682 h 4658912"/>
                    <a:gd name="connsiteX3" fmla="*/ 7128792 w 7380820"/>
                    <a:gd name="connsiteY3" fmla="*/ 295230 h 4658912"/>
                    <a:gd name="connsiteX4" fmla="*/ 264533 w 7380820"/>
                    <a:gd name="connsiteY4" fmla="*/ 0 h 4658912"/>
                    <a:gd name="connsiteX5" fmla="*/ 7116287 w 7380820"/>
                    <a:gd name="connsiteY5" fmla="*/ 0 h 4658912"/>
                    <a:gd name="connsiteX6" fmla="*/ 7380820 w 7380820"/>
                    <a:gd name="connsiteY6" fmla="*/ 264533 h 4658912"/>
                    <a:gd name="connsiteX7" fmla="*/ 7380820 w 7380820"/>
                    <a:gd name="connsiteY7" fmla="*/ 4394379 h 4658912"/>
                    <a:gd name="connsiteX8" fmla="*/ 7116287 w 7380820"/>
                    <a:gd name="connsiteY8" fmla="*/ 4658912 h 4658912"/>
                    <a:gd name="connsiteX9" fmla="*/ 264533 w 7380820"/>
                    <a:gd name="connsiteY9" fmla="*/ 4658912 h 4658912"/>
                    <a:gd name="connsiteX10" fmla="*/ 0 w 7380820"/>
                    <a:gd name="connsiteY10" fmla="*/ 4394379 h 4658912"/>
                    <a:gd name="connsiteX11" fmla="*/ 0 w 7380820"/>
                    <a:gd name="connsiteY11" fmla="*/ 264533 h 4658912"/>
                    <a:gd name="connsiteX12" fmla="*/ 264533 w 7380820"/>
                    <a:gd name="connsiteY12" fmla="*/ 0 h 465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0820" h="4658912">
                      <a:moveTo>
                        <a:pt x="252028" y="295230"/>
                      </a:moveTo>
                      <a:lnTo>
                        <a:pt x="252028" y="4363682"/>
                      </a:lnTo>
                      <a:lnTo>
                        <a:pt x="7128792" y="4363682"/>
                      </a:lnTo>
                      <a:lnTo>
                        <a:pt x="7128792" y="295230"/>
                      </a:lnTo>
                      <a:close/>
                      <a:moveTo>
                        <a:pt x="264533" y="0"/>
                      </a:moveTo>
                      <a:lnTo>
                        <a:pt x="7116287" y="0"/>
                      </a:lnTo>
                      <a:cubicBezTo>
                        <a:pt x="7262385" y="0"/>
                        <a:pt x="7380820" y="118435"/>
                        <a:pt x="7380820" y="264533"/>
                      </a:cubicBezTo>
                      <a:lnTo>
                        <a:pt x="7380820" y="4394379"/>
                      </a:lnTo>
                      <a:cubicBezTo>
                        <a:pt x="7380820" y="4540477"/>
                        <a:pt x="7262385" y="4658912"/>
                        <a:pt x="7116287" y="4658912"/>
                      </a:cubicBezTo>
                      <a:lnTo>
                        <a:pt x="264533" y="4658912"/>
                      </a:lnTo>
                      <a:cubicBezTo>
                        <a:pt x="118435" y="4658912"/>
                        <a:pt x="0" y="4540477"/>
                        <a:pt x="0" y="4394379"/>
                      </a:cubicBezTo>
                      <a:lnTo>
                        <a:pt x="0" y="264533"/>
                      </a:lnTo>
                      <a:cubicBezTo>
                        <a:pt x="0" y="118435"/>
                        <a:pt x="118435" y="0"/>
                        <a:pt x="264533" y="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dirty="0"/>
                </a:p>
              </p:txBody>
            </p:sp>
            <p:sp>
              <p:nvSpPr>
                <p:cNvPr id="32" name="isḻîḓè">
                  <a:extLst>
                    <a:ext uri="{FF2B5EF4-FFF2-40B4-BE49-F238E27FC236}">
                      <a16:creationId xmlns:a16="http://schemas.microsoft.com/office/drawing/2014/main" id="{E7ED2CE9-3B75-48A5-A539-8C613DB69734}"/>
                    </a:ext>
                  </a:extLst>
                </p:cNvPr>
                <p:cNvSpPr/>
                <p:nvPr/>
              </p:nvSpPr>
              <p:spPr>
                <a:xfrm>
                  <a:off x="6040056" y="1707676"/>
                  <a:ext cx="111889" cy="111889"/>
                </a:xfrm>
                <a:prstGeom prst="ellipse">
                  <a:avLst/>
                </a:prstGeom>
                <a:gradFill flip="none" rotWithShape="1">
                  <a:gsLst>
                    <a:gs pos="17000">
                      <a:schemeClr val="tx1"/>
                    </a:gs>
                    <a:gs pos="34000">
                      <a:srgbClr val="000000">
                        <a:lumMod val="84000"/>
                        <a:lumOff val="16000"/>
                      </a:srgbClr>
                    </a:gs>
                    <a:gs pos="100000">
                      <a:schemeClr val="bg1">
                        <a:lumMod val="50000"/>
                        <a:lumOff val="5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a:p>
              </p:txBody>
            </p:sp>
            <p:grpSp>
              <p:nvGrpSpPr>
                <p:cNvPr id="33" name="ïṧ1îḍê">
                  <a:extLst>
                    <a:ext uri="{FF2B5EF4-FFF2-40B4-BE49-F238E27FC236}">
                      <a16:creationId xmlns:a16="http://schemas.microsoft.com/office/drawing/2014/main" id="{1EF94A27-5B00-43E0-87C7-5DF1F5A985F3}"/>
                    </a:ext>
                  </a:extLst>
                </p:cNvPr>
                <p:cNvGrpSpPr/>
                <p:nvPr/>
              </p:nvGrpSpPr>
              <p:grpSpPr>
                <a:xfrm>
                  <a:off x="2459597" y="5232543"/>
                  <a:ext cx="7272808" cy="145693"/>
                  <a:chOff x="-1348120" y="5777968"/>
                  <a:chExt cx="9361040" cy="187524"/>
                </a:xfrm>
              </p:grpSpPr>
              <p:sp>
                <p:nvSpPr>
                  <p:cNvPr id="36" name="ísļiḍè">
                    <a:extLst>
                      <a:ext uri="{FF2B5EF4-FFF2-40B4-BE49-F238E27FC236}">
                        <a16:creationId xmlns:a16="http://schemas.microsoft.com/office/drawing/2014/main" id="{A81DC464-DA5E-4BF4-9DFC-1942412031CE}"/>
                      </a:ext>
                    </a:extLst>
                  </p:cNvPr>
                  <p:cNvSpPr/>
                  <p:nvPr/>
                </p:nvSpPr>
                <p:spPr>
                  <a:xfrm flipV="1">
                    <a:off x="-1348120" y="5928916"/>
                    <a:ext cx="9361040" cy="36576"/>
                  </a:xfrm>
                  <a:prstGeom prst="trapezoid">
                    <a:avLst>
                      <a:gd name="adj" fmla="val 814192"/>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a:p>
                </p:txBody>
              </p:sp>
              <p:sp>
                <p:nvSpPr>
                  <p:cNvPr id="37" name="îṩḷîḍe">
                    <a:extLst>
                      <a:ext uri="{FF2B5EF4-FFF2-40B4-BE49-F238E27FC236}">
                        <a16:creationId xmlns:a16="http://schemas.microsoft.com/office/drawing/2014/main" id="{8C66E3C9-DF9F-4414-A9B2-C9C5EC549EFA}"/>
                      </a:ext>
                    </a:extLst>
                  </p:cNvPr>
                  <p:cNvSpPr/>
                  <p:nvPr/>
                </p:nvSpPr>
                <p:spPr>
                  <a:xfrm>
                    <a:off x="-1348120" y="5777968"/>
                    <a:ext cx="9361040" cy="15109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a:p>
                </p:txBody>
              </p:sp>
            </p:grpSp>
            <p:sp>
              <p:nvSpPr>
                <p:cNvPr id="34" name="íṡḻîḓe">
                  <a:extLst>
                    <a:ext uri="{FF2B5EF4-FFF2-40B4-BE49-F238E27FC236}">
                      <a16:creationId xmlns:a16="http://schemas.microsoft.com/office/drawing/2014/main" id="{8B8EA6B3-3958-4541-AD66-EE7B4F0A23EA}"/>
                    </a:ext>
                  </a:extLst>
                </p:cNvPr>
                <p:cNvSpPr/>
                <p:nvPr/>
              </p:nvSpPr>
              <p:spPr>
                <a:xfrm>
                  <a:off x="3359696" y="1867128"/>
                  <a:ext cx="5439351" cy="3186712"/>
                </a:xfrm>
                <a:prstGeom prst="rect">
                  <a:avLst/>
                </a:prstGeom>
                <a:pattFill prst="pct5">
                  <a:fgClr>
                    <a:srgbClr val="E4E6EA"/>
                  </a:fgClr>
                  <a:bgClr>
                    <a:srgbClr val="ADB5BF"/>
                  </a:bgClr>
                </a:pattFill>
                <a:ln w="6350"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sp>
              <p:nvSpPr>
                <p:cNvPr id="35" name="îṣľïdè">
                  <a:extLst>
                    <a:ext uri="{FF2B5EF4-FFF2-40B4-BE49-F238E27FC236}">
                      <a16:creationId xmlns:a16="http://schemas.microsoft.com/office/drawing/2014/main" id="{3F7D7BBA-1F79-47EB-93C4-507FC6BBB012}"/>
                    </a:ext>
                  </a:extLst>
                </p:cNvPr>
                <p:cNvSpPr/>
                <p:nvPr/>
              </p:nvSpPr>
              <p:spPr>
                <a:xfrm>
                  <a:off x="7010659" y="1610580"/>
                  <a:ext cx="1966089" cy="3651552"/>
                </a:xfrm>
                <a:custGeom>
                  <a:avLst/>
                  <a:gdLst>
                    <a:gd name="connsiteX0" fmla="*/ 0 w 2530610"/>
                    <a:gd name="connsiteY0" fmla="*/ 0 h 4700016"/>
                    <a:gd name="connsiteX1" fmla="*/ 2263743 w 2530610"/>
                    <a:gd name="connsiteY1" fmla="*/ 0 h 4700016"/>
                    <a:gd name="connsiteX2" fmla="*/ 2530610 w 2530610"/>
                    <a:gd name="connsiteY2" fmla="*/ 266867 h 4700016"/>
                    <a:gd name="connsiteX3" fmla="*/ 2530610 w 2530610"/>
                    <a:gd name="connsiteY3" fmla="*/ 4433149 h 4700016"/>
                    <a:gd name="connsiteX4" fmla="*/ 2263743 w 2530610"/>
                    <a:gd name="connsiteY4" fmla="*/ 4700016 h 4700016"/>
                    <a:gd name="connsiteX5" fmla="*/ 1961175 w 2530610"/>
                    <a:gd name="connsiteY5" fmla="*/ 4700016 h 470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0610" h="4700016">
                      <a:moveTo>
                        <a:pt x="0" y="0"/>
                      </a:moveTo>
                      <a:lnTo>
                        <a:pt x="2263743" y="0"/>
                      </a:lnTo>
                      <a:cubicBezTo>
                        <a:pt x="2411130" y="0"/>
                        <a:pt x="2530610" y="119480"/>
                        <a:pt x="2530610" y="266867"/>
                      </a:cubicBezTo>
                      <a:lnTo>
                        <a:pt x="2530610" y="4433149"/>
                      </a:lnTo>
                      <a:cubicBezTo>
                        <a:pt x="2530610" y="4580536"/>
                        <a:pt x="2411130" y="4700016"/>
                        <a:pt x="2263743" y="4700016"/>
                      </a:cubicBezTo>
                      <a:lnTo>
                        <a:pt x="1961175" y="4700016"/>
                      </a:lnTo>
                      <a:close/>
                    </a:path>
                  </a:pathLst>
                </a:custGeom>
                <a:gradFill>
                  <a:gsLst>
                    <a:gs pos="0">
                      <a:srgbClr val="FFFFFF">
                        <a:alpha val="30000"/>
                      </a:srgbClr>
                    </a:gs>
                    <a:gs pos="100000">
                      <a:srgbClr val="FFFFFF">
                        <a:alpha val="0"/>
                      </a:srgb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lang="en-US" sz="1091" dirty="0"/>
                </a:p>
              </p:txBody>
            </p:sp>
          </p:grpSp>
          <p:grpSp>
            <p:nvGrpSpPr>
              <p:cNvPr id="21" name="ïšḷiḓé">
                <a:extLst>
                  <a:ext uri="{FF2B5EF4-FFF2-40B4-BE49-F238E27FC236}">
                    <a16:creationId xmlns:a16="http://schemas.microsoft.com/office/drawing/2014/main" id="{F056C266-2C2D-4DE7-B751-204E148C834E}"/>
                  </a:ext>
                </a:extLst>
              </p:cNvPr>
              <p:cNvGrpSpPr/>
              <p:nvPr/>
            </p:nvGrpSpPr>
            <p:grpSpPr>
              <a:xfrm>
                <a:off x="682153" y="1865084"/>
                <a:ext cx="1090850" cy="1618602"/>
                <a:chOff x="6298781" y="1936746"/>
                <a:chExt cx="520965" cy="773006"/>
              </a:xfrm>
            </p:grpSpPr>
            <p:sp>
              <p:nvSpPr>
                <p:cNvPr id="22" name="îs1íḍè">
                  <a:extLst>
                    <a:ext uri="{FF2B5EF4-FFF2-40B4-BE49-F238E27FC236}">
                      <a16:creationId xmlns:a16="http://schemas.microsoft.com/office/drawing/2014/main" id="{8AB90150-FB24-468B-A771-8ADD021BB345}"/>
                    </a:ext>
                  </a:extLst>
                </p:cNvPr>
                <p:cNvSpPr/>
                <p:nvPr/>
              </p:nvSpPr>
              <p:spPr>
                <a:xfrm>
                  <a:off x="6299984" y="2447201"/>
                  <a:ext cx="262551" cy="262551"/>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i="1">
                    <a:solidFill>
                      <a:schemeClr val="tx1"/>
                    </a:solidFill>
                  </a:endParaRPr>
                </a:p>
              </p:txBody>
            </p:sp>
            <p:sp>
              <p:nvSpPr>
                <p:cNvPr id="23" name="ïSľîḋè">
                  <a:extLst>
                    <a:ext uri="{FF2B5EF4-FFF2-40B4-BE49-F238E27FC236}">
                      <a16:creationId xmlns:a16="http://schemas.microsoft.com/office/drawing/2014/main" id="{B51F6E06-FF28-41FF-A077-EDE254DEA357}"/>
                    </a:ext>
                  </a:extLst>
                </p:cNvPr>
                <p:cNvSpPr/>
                <p:nvPr/>
              </p:nvSpPr>
              <p:spPr>
                <a:xfrm>
                  <a:off x="6345252" y="2197411"/>
                  <a:ext cx="172016" cy="172016"/>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p>
                  <a:pPr algn="ctr" defTabSz="914354"/>
                  <a:endParaRPr lang="zh-CN" altLang="en-US" sz="2000" b="1" i="1">
                    <a:solidFill>
                      <a:schemeClr val="tx1"/>
                    </a:solidFill>
                  </a:endParaRPr>
                </a:p>
              </p:txBody>
            </p:sp>
            <p:sp>
              <p:nvSpPr>
                <p:cNvPr id="24" name="iśļíďe">
                  <a:extLst>
                    <a:ext uri="{FF2B5EF4-FFF2-40B4-BE49-F238E27FC236}">
                      <a16:creationId xmlns:a16="http://schemas.microsoft.com/office/drawing/2014/main" id="{3F098CC7-C4CC-4792-BEDD-01786D19532D}"/>
                    </a:ext>
                  </a:extLst>
                </p:cNvPr>
                <p:cNvSpPr/>
                <p:nvPr/>
              </p:nvSpPr>
              <p:spPr>
                <a:xfrm>
                  <a:off x="6298781" y="2016730"/>
                  <a:ext cx="111048" cy="111048"/>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p>
                  <a:pPr algn="ctr" defTabSz="914354"/>
                  <a:endParaRPr lang="zh-CN" altLang="en-US" sz="2000" b="1" i="1">
                    <a:solidFill>
                      <a:schemeClr val="tx1"/>
                    </a:solidFill>
                  </a:endParaRPr>
                </a:p>
              </p:txBody>
            </p:sp>
            <p:sp>
              <p:nvSpPr>
                <p:cNvPr id="25" name="ïSļiḑè">
                  <a:extLst>
                    <a:ext uri="{FF2B5EF4-FFF2-40B4-BE49-F238E27FC236}">
                      <a16:creationId xmlns:a16="http://schemas.microsoft.com/office/drawing/2014/main" id="{DC64A017-531A-4555-A8A1-598B060BD04C}"/>
                    </a:ext>
                  </a:extLst>
                </p:cNvPr>
                <p:cNvSpPr/>
                <p:nvPr/>
              </p:nvSpPr>
              <p:spPr>
                <a:xfrm>
                  <a:off x="6466994" y="2024025"/>
                  <a:ext cx="80034" cy="80034"/>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i="1">
                    <a:solidFill>
                      <a:schemeClr val="tx1"/>
                    </a:solidFill>
                  </a:endParaRPr>
                </a:p>
              </p:txBody>
            </p:sp>
            <p:sp>
              <p:nvSpPr>
                <p:cNvPr id="26" name="íṥľïde">
                  <a:extLst>
                    <a:ext uri="{FF2B5EF4-FFF2-40B4-BE49-F238E27FC236}">
                      <a16:creationId xmlns:a16="http://schemas.microsoft.com/office/drawing/2014/main" id="{7FE27BDC-9903-43BA-9420-FBFB48C546A1}"/>
                    </a:ext>
                  </a:extLst>
                </p:cNvPr>
                <p:cNvSpPr/>
                <p:nvPr/>
              </p:nvSpPr>
              <p:spPr>
                <a:xfrm>
                  <a:off x="6562535" y="1936746"/>
                  <a:ext cx="80034" cy="80034"/>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i="1">
                    <a:solidFill>
                      <a:schemeClr val="tx1"/>
                    </a:solidFill>
                  </a:endParaRPr>
                </a:p>
              </p:txBody>
            </p:sp>
            <p:sp>
              <p:nvSpPr>
                <p:cNvPr id="27" name="ïṡḻiḑe">
                  <a:extLst>
                    <a:ext uri="{FF2B5EF4-FFF2-40B4-BE49-F238E27FC236}">
                      <a16:creationId xmlns:a16="http://schemas.microsoft.com/office/drawing/2014/main" id="{324DE9DB-D130-4A63-BFE6-3834AFCBB3C7}"/>
                    </a:ext>
                  </a:extLst>
                </p:cNvPr>
                <p:cNvSpPr/>
                <p:nvPr/>
              </p:nvSpPr>
              <p:spPr>
                <a:xfrm>
                  <a:off x="6720686" y="1992220"/>
                  <a:ext cx="80034" cy="80034"/>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i="1">
                    <a:solidFill>
                      <a:schemeClr val="tx1"/>
                    </a:solidFill>
                  </a:endParaRPr>
                </a:p>
              </p:txBody>
            </p:sp>
            <p:sp>
              <p:nvSpPr>
                <p:cNvPr id="28" name="íṡ1íḓè">
                  <a:extLst>
                    <a:ext uri="{FF2B5EF4-FFF2-40B4-BE49-F238E27FC236}">
                      <a16:creationId xmlns:a16="http://schemas.microsoft.com/office/drawing/2014/main" id="{F7B0096D-5F9A-459F-94B3-B49A20014FC8}"/>
                    </a:ext>
                  </a:extLst>
                </p:cNvPr>
                <p:cNvSpPr/>
                <p:nvPr/>
              </p:nvSpPr>
              <p:spPr>
                <a:xfrm>
                  <a:off x="6592489" y="2068888"/>
                  <a:ext cx="103442" cy="103442"/>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7500" lnSpcReduction="20000"/>
                </a:bodyPr>
                <a:lstStyle/>
                <a:p>
                  <a:pPr algn="ctr" defTabSz="914354"/>
                  <a:endParaRPr lang="zh-CN" altLang="en-US" sz="2000" b="1" i="1">
                    <a:solidFill>
                      <a:schemeClr val="tx1"/>
                    </a:solidFill>
                  </a:endParaRPr>
                </a:p>
              </p:txBody>
            </p:sp>
            <p:sp>
              <p:nvSpPr>
                <p:cNvPr id="29" name="îṣ1îḑè">
                  <a:extLst>
                    <a:ext uri="{FF2B5EF4-FFF2-40B4-BE49-F238E27FC236}">
                      <a16:creationId xmlns:a16="http://schemas.microsoft.com/office/drawing/2014/main" id="{50107D53-1D2F-4981-B027-F93C822C6239}"/>
                    </a:ext>
                  </a:extLst>
                </p:cNvPr>
                <p:cNvSpPr/>
                <p:nvPr/>
              </p:nvSpPr>
              <p:spPr>
                <a:xfrm>
                  <a:off x="6701662" y="2179305"/>
                  <a:ext cx="118084" cy="118084"/>
                </a:xfrm>
                <a:prstGeom prst="rect">
                  <a:avLst/>
                </a:pr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55000" lnSpcReduction="20000"/>
                </a:bodyPr>
                <a:lstStyle/>
                <a:p>
                  <a:pPr algn="ctr" defTabSz="914354"/>
                  <a:endParaRPr lang="zh-CN" altLang="en-US" sz="2000" b="1" i="1">
                    <a:solidFill>
                      <a:schemeClr val="tx1"/>
                    </a:solidFill>
                  </a:endParaRPr>
                </a:p>
              </p:txBody>
            </p:sp>
          </p:grpSp>
        </p:grpSp>
        <p:grpSp>
          <p:nvGrpSpPr>
            <p:cNvPr id="7" name="îṩļîḓê">
              <a:extLst>
                <a:ext uri="{FF2B5EF4-FFF2-40B4-BE49-F238E27FC236}">
                  <a16:creationId xmlns:a16="http://schemas.microsoft.com/office/drawing/2014/main" id="{83CF512B-F63C-4250-8594-DA82BFC38DD4}"/>
                </a:ext>
              </a:extLst>
            </p:cNvPr>
            <p:cNvGrpSpPr/>
            <p:nvPr/>
          </p:nvGrpSpPr>
          <p:grpSpPr>
            <a:xfrm>
              <a:off x="5783131" y="1574166"/>
              <a:ext cx="5740300" cy="1233844"/>
              <a:chOff x="5783131" y="1597496"/>
              <a:chExt cx="5740300" cy="1233844"/>
            </a:xfrm>
          </p:grpSpPr>
          <p:sp>
            <p:nvSpPr>
              <p:cNvPr id="17" name="í$ļíde">
                <a:extLst>
                  <a:ext uri="{FF2B5EF4-FFF2-40B4-BE49-F238E27FC236}">
                    <a16:creationId xmlns:a16="http://schemas.microsoft.com/office/drawing/2014/main" id="{64DC2847-DA63-4AF3-B015-B0D0DC7F9B4A}"/>
                  </a:ext>
                </a:extLst>
              </p:cNvPr>
              <p:cNvSpPr txBox="1"/>
              <p:nvPr/>
            </p:nvSpPr>
            <p:spPr>
              <a:xfrm>
                <a:off x="5783131" y="1597496"/>
                <a:ext cx="5730764" cy="898373"/>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en-US" altLang="zh-CN" sz="2400" b="1" dirty="0"/>
                  <a:t>Technical skills.</a:t>
                </a:r>
              </a:p>
            </p:txBody>
          </p:sp>
          <p:sp>
            <p:nvSpPr>
              <p:cNvPr id="18" name="ïṩļîḓê">
                <a:extLst>
                  <a:ext uri="{FF2B5EF4-FFF2-40B4-BE49-F238E27FC236}">
                    <a16:creationId xmlns:a16="http://schemas.microsoft.com/office/drawing/2014/main" id="{23E9BBEA-FB54-47C3-BA28-CE85931B8740}"/>
                  </a:ext>
                </a:extLst>
              </p:cNvPr>
              <p:cNvSpPr txBox="1"/>
              <p:nvPr/>
            </p:nvSpPr>
            <p:spPr>
              <a:xfrm>
                <a:off x="5792666" y="2102842"/>
                <a:ext cx="5730765" cy="72849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buSzPct val="25000"/>
                </a:pPr>
                <a:r>
                  <a:rPr lang="en-US" sz="1600" dirty="0">
                    <a:latin typeface="Bell MT" panose="02020503060305020303" pitchFamily="18" charset="0"/>
                  </a:rPr>
                  <a:t>What I learned from school and what I preferred most</a:t>
                </a:r>
                <a:r>
                  <a:rPr lang="en-US" sz="1200" dirty="0"/>
                  <a:t>.</a:t>
                </a:r>
              </a:p>
            </p:txBody>
          </p:sp>
          <p:cxnSp>
            <p:nvCxnSpPr>
              <p:cNvPr id="19" name="直接连接符 81">
                <a:extLst>
                  <a:ext uri="{FF2B5EF4-FFF2-40B4-BE49-F238E27FC236}">
                    <a16:creationId xmlns:a16="http://schemas.microsoft.com/office/drawing/2014/main" id="{5356B0A4-1605-4A97-A77F-CC5DD7484364}"/>
                  </a:ext>
                </a:extLst>
              </p:cNvPr>
              <p:cNvCxnSpPr>
                <a:cxnSpLocks/>
              </p:cNvCxnSpPr>
              <p:nvPr/>
            </p:nvCxnSpPr>
            <p:spPr>
              <a:xfrm>
                <a:off x="5899151" y="2218294"/>
                <a:ext cx="3276600" cy="9525"/>
              </a:xfrm>
              <a:prstGeom prst="line">
                <a:avLst/>
              </a:prstGeom>
              <a:ln w="28575" cap="rnd">
                <a:solidFill>
                  <a:schemeClr val="accent1"/>
                </a:solidFill>
                <a:round/>
              </a:ln>
            </p:spPr>
            <p:style>
              <a:lnRef idx="1">
                <a:schemeClr val="accent1"/>
              </a:lnRef>
              <a:fillRef idx="0">
                <a:schemeClr val="accent1"/>
              </a:fillRef>
              <a:effectRef idx="0">
                <a:schemeClr val="accent1"/>
              </a:effectRef>
              <a:fontRef idx="minor">
                <a:schemeClr val="tx1"/>
              </a:fontRef>
            </p:style>
          </p:cxnSp>
        </p:grpSp>
        <p:cxnSp>
          <p:nvCxnSpPr>
            <p:cNvPr id="8" name="直接连接符 104">
              <a:extLst>
                <a:ext uri="{FF2B5EF4-FFF2-40B4-BE49-F238E27FC236}">
                  <a16:creationId xmlns:a16="http://schemas.microsoft.com/office/drawing/2014/main" id="{6E53D134-122E-4AD8-ABD3-CCE008AE2C84}"/>
                </a:ext>
              </a:extLst>
            </p:cNvPr>
            <p:cNvCxnSpPr/>
            <p:nvPr/>
          </p:nvCxnSpPr>
          <p:spPr>
            <a:xfrm>
              <a:off x="8820173" y="3905219"/>
              <a:ext cx="0" cy="2241581"/>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9" name="ïş1îḑe">
              <a:extLst>
                <a:ext uri="{FF2B5EF4-FFF2-40B4-BE49-F238E27FC236}">
                  <a16:creationId xmlns:a16="http://schemas.microsoft.com/office/drawing/2014/main" id="{A1A68395-F787-4EDD-AB48-465534C258A7}"/>
                </a:ext>
              </a:extLst>
            </p:cNvPr>
            <p:cNvGrpSpPr/>
            <p:nvPr/>
          </p:nvGrpSpPr>
          <p:grpSpPr>
            <a:xfrm>
              <a:off x="6121447" y="3435775"/>
              <a:ext cx="2331730" cy="2711025"/>
              <a:chOff x="6121447" y="3435775"/>
              <a:chExt cx="2331730" cy="2711025"/>
            </a:xfrm>
          </p:grpSpPr>
          <p:sp>
            <p:nvSpPr>
              <p:cNvPr id="14" name="ïsḻíďê">
                <a:extLst>
                  <a:ext uri="{FF2B5EF4-FFF2-40B4-BE49-F238E27FC236}">
                    <a16:creationId xmlns:a16="http://schemas.microsoft.com/office/drawing/2014/main" id="{3F9B22AF-7850-4DE4-8966-1463A8FCD3BE}"/>
                  </a:ext>
                </a:extLst>
              </p:cNvPr>
              <p:cNvSpPr/>
              <p:nvPr/>
            </p:nvSpPr>
            <p:spPr bwMode="auto">
              <a:xfrm>
                <a:off x="6121447" y="4297822"/>
                <a:ext cx="2331730" cy="18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40000"/>
                  </a:lnSpc>
                  <a:buFont typeface="Arial" panose="020B0604020202020204" pitchFamily="34" charset="0"/>
                  <a:buChar char="•"/>
                </a:pPr>
                <a:r>
                  <a:rPr lang="en-US" altLang="zh-CN" sz="1100" dirty="0"/>
                  <a:t>Northwest University</a:t>
                </a:r>
              </a:p>
              <a:p>
                <a:pPr marL="171450" indent="-171450">
                  <a:lnSpc>
                    <a:spcPct val="140000"/>
                  </a:lnSpc>
                  <a:buFont typeface="Arial" panose="020B0604020202020204" pitchFamily="34" charset="0"/>
                  <a:buChar char="•"/>
                </a:pPr>
                <a:r>
                  <a:rPr lang="en-US" altLang="zh-CN" sz="1100" dirty="0"/>
                  <a:t>Northwest University</a:t>
                </a:r>
              </a:p>
              <a:p>
                <a:pPr marL="171450" indent="-171450">
                  <a:lnSpc>
                    <a:spcPct val="140000"/>
                  </a:lnSpc>
                  <a:buFont typeface="Arial" panose="020B0604020202020204" pitchFamily="34" charset="0"/>
                  <a:buChar char="•"/>
                </a:pPr>
                <a:r>
                  <a:rPr lang="en-US" altLang="zh-CN" sz="1100" dirty="0"/>
                  <a:t>Information Management &amp; Information System</a:t>
                </a:r>
              </a:p>
              <a:p>
                <a:pPr marL="171450" indent="-171450">
                  <a:lnSpc>
                    <a:spcPct val="140000"/>
                  </a:lnSpc>
                  <a:buFont typeface="Arial" panose="020B0604020202020204" pitchFamily="34" charset="0"/>
                  <a:buChar char="•"/>
                </a:pPr>
                <a:endParaRPr lang="en-US" altLang="zh-CN" sz="1100" dirty="0"/>
              </a:p>
              <a:p>
                <a:pPr marL="171450" indent="-171450">
                  <a:lnSpc>
                    <a:spcPct val="140000"/>
                  </a:lnSpc>
                  <a:buFont typeface="Arial" panose="020B0604020202020204" pitchFamily="34" charset="0"/>
                  <a:buChar char="•"/>
                </a:pPr>
                <a:r>
                  <a:rPr lang="en-US" altLang="zh-CN" sz="1100" dirty="0"/>
                  <a:t>Population Information Inquiry System Based on Hive</a:t>
                </a:r>
              </a:p>
              <a:p>
                <a:pPr marL="171450" indent="-171450">
                  <a:lnSpc>
                    <a:spcPct val="140000"/>
                  </a:lnSpc>
                  <a:buFont typeface="Arial" panose="020B0604020202020204" pitchFamily="34" charset="0"/>
                  <a:buChar char="•"/>
                </a:pPr>
                <a:r>
                  <a:rPr lang="en-US" altLang="zh-CN" sz="1100" dirty="0"/>
                  <a:t>……</a:t>
                </a:r>
              </a:p>
            </p:txBody>
          </p:sp>
          <p:sp>
            <p:nvSpPr>
              <p:cNvPr id="15" name="íşḷíḓé">
                <a:extLst>
                  <a:ext uri="{FF2B5EF4-FFF2-40B4-BE49-F238E27FC236}">
                    <a16:creationId xmlns:a16="http://schemas.microsoft.com/office/drawing/2014/main" id="{E8A6F94C-7525-43C5-B2D9-FD32630682F1}"/>
                  </a:ext>
                </a:extLst>
              </p:cNvPr>
              <p:cNvSpPr txBox="1"/>
              <p:nvPr/>
            </p:nvSpPr>
            <p:spPr bwMode="auto">
              <a:xfrm>
                <a:off x="6121448" y="3928490"/>
                <a:ext cx="2326724" cy="369332"/>
              </a:xfrm>
              <a:prstGeom prst="rect">
                <a:avLst/>
              </a:prstGeom>
              <a:no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i="1" dirty="0"/>
                  <a:t>Bachelor</a:t>
                </a:r>
              </a:p>
            </p:txBody>
          </p:sp>
          <p:sp>
            <p:nvSpPr>
              <p:cNvPr id="16" name="iṥliḍê">
                <a:extLst>
                  <a:ext uri="{FF2B5EF4-FFF2-40B4-BE49-F238E27FC236}">
                    <a16:creationId xmlns:a16="http://schemas.microsoft.com/office/drawing/2014/main" id="{0245CE85-F7A4-41F2-AA4E-B75195894B1D}"/>
                  </a:ext>
                </a:extLst>
              </p:cNvPr>
              <p:cNvSpPr/>
              <p:nvPr/>
            </p:nvSpPr>
            <p:spPr>
              <a:xfrm>
                <a:off x="6193876" y="3435775"/>
                <a:ext cx="612668" cy="461665"/>
              </a:xfrm>
              <a:prstGeom prst="rect">
                <a:avLst/>
              </a:prstGeom>
              <a:noFill/>
              <a:ln>
                <a:noFill/>
              </a:ln>
            </p:spPr>
            <p:txBody>
              <a:bodyPr wrap="square" lIns="91440" tIns="45720" rIns="91440" bIns="45720" anchor="ctr">
                <a:normAutofit/>
              </a:bodyPr>
              <a:lstStyle/>
              <a:p>
                <a:pPr>
                  <a:spcBef>
                    <a:spcPct val="0"/>
                  </a:spcBef>
                </a:pPr>
                <a:r>
                  <a:rPr lang="en-US" altLang="zh-CN" sz="2400" b="1" dirty="0">
                    <a:solidFill>
                      <a:schemeClr val="accent1"/>
                    </a:solidFill>
                  </a:rPr>
                  <a:t>01.</a:t>
                </a:r>
                <a:endParaRPr lang="zh-CN" altLang="en-US" sz="2400" b="1" dirty="0">
                  <a:solidFill>
                    <a:schemeClr val="accent1"/>
                  </a:solidFill>
                </a:endParaRPr>
              </a:p>
            </p:txBody>
          </p:sp>
        </p:grpSp>
        <p:grpSp>
          <p:nvGrpSpPr>
            <p:cNvPr id="10" name="isḷíḍè">
              <a:extLst>
                <a:ext uri="{FF2B5EF4-FFF2-40B4-BE49-F238E27FC236}">
                  <a16:creationId xmlns:a16="http://schemas.microsoft.com/office/drawing/2014/main" id="{53FEB5CF-59B1-418F-9F0F-289CEDA98084}"/>
                </a:ext>
              </a:extLst>
            </p:cNvPr>
            <p:cNvGrpSpPr/>
            <p:nvPr/>
          </p:nvGrpSpPr>
          <p:grpSpPr>
            <a:xfrm>
              <a:off x="9187170" y="3435775"/>
              <a:ext cx="2331730" cy="2711025"/>
              <a:chOff x="9187170" y="3435775"/>
              <a:chExt cx="2331730" cy="2711025"/>
            </a:xfrm>
          </p:grpSpPr>
          <p:sp>
            <p:nvSpPr>
              <p:cNvPr id="11" name="íşḻiḍê">
                <a:extLst>
                  <a:ext uri="{FF2B5EF4-FFF2-40B4-BE49-F238E27FC236}">
                    <a16:creationId xmlns:a16="http://schemas.microsoft.com/office/drawing/2014/main" id="{3F9B22AF-7850-4DE4-8966-1463A8FCD3BE}"/>
                  </a:ext>
                </a:extLst>
              </p:cNvPr>
              <p:cNvSpPr/>
              <p:nvPr/>
            </p:nvSpPr>
            <p:spPr bwMode="auto">
              <a:xfrm>
                <a:off x="9187170" y="4297822"/>
                <a:ext cx="2331730" cy="18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40000"/>
                  </a:lnSpc>
                  <a:buFont typeface="Arial" panose="020B0604020202020204" pitchFamily="34" charset="0"/>
                  <a:buChar char="•"/>
                </a:pPr>
                <a:r>
                  <a:rPr lang="en-US" altLang="zh-CN" sz="1100" dirty="0"/>
                  <a:t>Northwest University</a:t>
                </a:r>
              </a:p>
              <a:p>
                <a:pPr marL="171450" indent="-171450">
                  <a:lnSpc>
                    <a:spcPct val="140000"/>
                  </a:lnSpc>
                  <a:buFont typeface="Arial" panose="020B0604020202020204" pitchFamily="34" charset="0"/>
                  <a:buChar char="•"/>
                </a:pPr>
                <a:r>
                  <a:rPr lang="en-US" altLang="zh-CN" sz="1100" dirty="0"/>
                  <a:t>Computer Application Technology</a:t>
                </a:r>
              </a:p>
              <a:p>
                <a:pPr marL="171450" indent="-171450">
                  <a:lnSpc>
                    <a:spcPct val="140000"/>
                  </a:lnSpc>
                  <a:buFont typeface="Arial" panose="020B0604020202020204" pitchFamily="34" charset="0"/>
                  <a:buChar char="•"/>
                </a:pPr>
                <a:r>
                  <a:rPr lang="en-US" altLang="zh-CN" sz="1100" dirty="0"/>
                  <a:t>Deep Learning, Data Mining, image classification.</a:t>
                </a:r>
              </a:p>
              <a:p>
                <a:pPr marL="171450" indent="-171450">
                  <a:lnSpc>
                    <a:spcPct val="140000"/>
                  </a:lnSpc>
                  <a:buFont typeface="Arial" panose="020B0604020202020204" pitchFamily="34" charset="0"/>
                  <a:buChar char="•"/>
                </a:pPr>
                <a:r>
                  <a:rPr lang="en-US" altLang="zh-CN" sz="1100" dirty="0"/>
                  <a:t>Research on Image Classification Algorithms Based on Convolutional Neural Network</a:t>
                </a:r>
              </a:p>
              <a:p>
                <a:pPr marL="171450" indent="-171450">
                  <a:lnSpc>
                    <a:spcPct val="140000"/>
                  </a:lnSpc>
                  <a:buFont typeface="Arial" panose="020B0604020202020204" pitchFamily="34" charset="0"/>
                  <a:buChar char="•"/>
                </a:pPr>
                <a:r>
                  <a:rPr lang="en-US" altLang="zh-CN" sz="1100" dirty="0"/>
                  <a:t>……</a:t>
                </a:r>
              </a:p>
            </p:txBody>
          </p:sp>
          <p:sp>
            <p:nvSpPr>
              <p:cNvPr id="12" name="îṡlïḋe">
                <a:extLst>
                  <a:ext uri="{FF2B5EF4-FFF2-40B4-BE49-F238E27FC236}">
                    <a16:creationId xmlns:a16="http://schemas.microsoft.com/office/drawing/2014/main" id="{E8A6F94C-7525-43C5-B2D9-FD32630682F1}"/>
                  </a:ext>
                </a:extLst>
              </p:cNvPr>
              <p:cNvSpPr txBox="1"/>
              <p:nvPr/>
            </p:nvSpPr>
            <p:spPr bwMode="auto">
              <a:xfrm>
                <a:off x="9187171" y="3928490"/>
                <a:ext cx="2326724" cy="369332"/>
              </a:xfrm>
              <a:prstGeom prst="rect">
                <a:avLst/>
              </a:prstGeom>
              <a:noFill/>
              <a:ln>
                <a:noFill/>
              </a:ln>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i="1" dirty="0"/>
                  <a:t>Master</a:t>
                </a:r>
              </a:p>
            </p:txBody>
          </p:sp>
          <p:sp>
            <p:nvSpPr>
              <p:cNvPr id="13" name="îšļiḍé">
                <a:extLst>
                  <a:ext uri="{FF2B5EF4-FFF2-40B4-BE49-F238E27FC236}">
                    <a16:creationId xmlns:a16="http://schemas.microsoft.com/office/drawing/2014/main" id="{7F8355A8-3E97-463C-9D6D-31E20C816AC0}"/>
                  </a:ext>
                </a:extLst>
              </p:cNvPr>
              <p:cNvSpPr/>
              <p:nvPr/>
            </p:nvSpPr>
            <p:spPr>
              <a:xfrm>
                <a:off x="9259599" y="3435775"/>
                <a:ext cx="612668" cy="461665"/>
              </a:xfrm>
              <a:prstGeom prst="rect">
                <a:avLst/>
              </a:prstGeom>
              <a:noFill/>
              <a:ln>
                <a:noFill/>
              </a:ln>
            </p:spPr>
            <p:txBody>
              <a:bodyPr wrap="square" lIns="91440" tIns="45720" rIns="91440" bIns="45720" anchor="ctr">
                <a:normAutofit/>
              </a:bodyPr>
              <a:lstStyle/>
              <a:p>
                <a:pPr>
                  <a:spcBef>
                    <a:spcPct val="0"/>
                  </a:spcBef>
                </a:pPr>
                <a:r>
                  <a:rPr lang="en-US" altLang="zh-CN" sz="2400" b="1" dirty="0">
                    <a:solidFill>
                      <a:schemeClr val="accent1"/>
                    </a:solidFill>
                  </a:rPr>
                  <a:t>02.</a:t>
                </a:r>
                <a:endParaRPr lang="zh-CN" altLang="en-US" sz="2400" b="1" dirty="0">
                  <a:solidFill>
                    <a:schemeClr val="accent1"/>
                  </a:solidFill>
                </a:endParaRPr>
              </a:p>
            </p:txBody>
          </p:sp>
        </p:grpSp>
      </p:grpSp>
      <p:sp>
        <p:nvSpPr>
          <p:cNvPr id="39" name="online-education_175198">
            <a:extLst>
              <a:ext uri="{FF2B5EF4-FFF2-40B4-BE49-F238E27FC236}">
                <a16:creationId xmlns:a16="http://schemas.microsoft.com/office/drawing/2014/main" id="{E9E4CC13-2365-4B5C-A1BB-FD6C01C1A39C}"/>
              </a:ext>
            </a:extLst>
          </p:cNvPr>
          <p:cNvSpPr>
            <a:spLocks noChangeAspect="1"/>
          </p:cNvSpPr>
          <p:nvPr/>
        </p:nvSpPr>
        <p:spPr bwMode="auto">
          <a:xfrm>
            <a:off x="2891027" y="3315898"/>
            <a:ext cx="1778137" cy="1283431"/>
          </a:xfrm>
          <a:custGeom>
            <a:avLst/>
            <a:gdLst>
              <a:gd name="T0" fmla="*/ 3724 w 6404"/>
              <a:gd name="T1" fmla="*/ 13 h 4629"/>
              <a:gd name="T2" fmla="*/ 1149 w 6404"/>
              <a:gd name="T3" fmla="*/ 981 h 4629"/>
              <a:gd name="T4" fmla="*/ 1150 w 6404"/>
              <a:gd name="T5" fmla="*/ 1230 h 4629"/>
              <a:gd name="T6" fmla="*/ 53 w 6404"/>
              <a:gd name="T7" fmla="*/ 2862 h 4629"/>
              <a:gd name="T8" fmla="*/ 70 w 6404"/>
              <a:gd name="T9" fmla="*/ 3082 h 4629"/>
              <a:gd name="T10" fmla="*/ 600 w 6404"/>
              <a:gd name="T11" fmla="*/ 4433 h 4629"/>
              <a:gd name="T12" fmla="*/ 717 w 6404"/>
              <a:gd name="T13" fmla="*/ 4629 h 4629"/>
              <a:gd name="T14" fmla="*/ 1256 w 6404"/>
              <a:gd name="T15" fmla="*/ 3759 h 4629"/>
              <a:gd name="T16" fmla="*/ 2334 w 6404"/>
              <a:gd name="T17" fmla="*/ 4354 h 4629"/>
              <a:gd name="T18" fmla="*/ 2466 w 6404"/>
              <a:gd name="T19" fmla="*/ 4239 h 4629"/>
              <a:gd name="T20" fmla="*/ 3665 w 6404"/>
              <a:gd name="T21" fmla="*/ 3591 h 4629"/>
              <a:gd name="T22" fmla="*/ 3676 w 6404"/>
              <a:gd name="T23" fmla="*/ 3595 h 4629"/>
              <a:gd name="T24" fmla="*/ 3697 w 6404"/>
              <a:gd name="T25" fmla="*/ 3600 h 4629"/>
              <a:gd name="T26" fmla="*/ 3714 w 6404"/>
              <a:gd name="T27" fmla="*/ 3601 h 4629"/>
              <a:gd name="T28" fmla="*/ 3735 w 6404"/>
              <a:gd name="T29" fmla="*/ 3599 h 4629"/>
              <a:gd name="T30" fmla="*/ 3754 w 6404"/>
              <a:gd name="T31" fmla="*/ 3594 h 4629"/>
              <a:gd name="T32" fmla="*/ 4601 w 6404"/>
              <a:gd name="T33" fmla="*/ 3256 h 4629"/>
              <a:gd name="T34" fmla="*/ 4397 w 6404"/>
              <a:gd name="T35" fmla="*/ 4200 h 4629"/>
              <a:gd name="T36" fmla="*/ 4527 w 6404"/>
              <a:gd name="T37" fmla="*/ 4362 h 4629"/>
              <a:gd name="T38" fmla="*/ 5267 w 6404"/>
              <a:gd name="T39" fmla="*/ 4123 h 4629"/>
              <a:gd name="T40" fmla="*/ 5334 w 6404"/>
              <a:gd name="T41" fmla="*/ 3920 h 4629"/>
              <a:gd name="T42" fmla="*/ 4864 w 6404"/>
              <a:gd name="T43" fmla="*/ 3228 h 4629"/>
              <a:gd name="T44" fmla="*/ 5312 w 6404"/>
              <a:gd name="T45" fmla="*/ 2971 h 4629"/>
              <a:gd name="T46" fmla="*/ 5396 w 6404"/>
              <a:gd name="T47" fmla="*/ 1618 h 4629"/>
              <a:gd name="T48" fmla="*/ 6403 w 6404"/>
              <a:gd name="T49" fmla="*/ 1165 h 4629"/>
              <a:gd name="T50" fmla="*/ 2229 w 6404"/>
              <a:gd name="T51" fmla="*/ 4007 h 4629"/>
              <a:gd name="T52" fmla="*/ 2627 w 6404"/>
              <a:gd name="T53" fmla="*/ 1149 h 4629"/>
              <a:gd name="T54" fmla="*/ 3581 w 6404"/>
              <a:gd name="T55" fmla="*/ 3271 h 4629"/>
              <a:gd name="T56" fmla="*/ 2798 w 6404"/>
              <a:gd name="T57" fmla="*/ 1859 h 4629"/>
              <a:gd name="T58" fmla="*/ 3581 w 6404"/>
              <a:gd name="T59" fmla="*/ 3271 h 4629"/>
              <a:gd name="T60" fmla="*/ 3847 w 6404"/>
              <a:gd name="T61" fmla="*/ 2174 h 4629"/>
              <a:gd name="T62" fmla="*/ 4597 w 6404"/>
              <a:gd name="T63" fmla="*/ 2970 h 4629"/>
              <a:gd name="T64" fmla="*/ 5014 w 6404"/>
              <a:gd name="T65" fmla="*/ 3926 h 4629"/>
              <a:gd name="T66" fmla="*/ 4798 w 6404"/>
              <a:gd name="T67" fmla="*/ 3615 h 4629"/>
              <a:gd name="T68" fmla="*/ 5129 w 6404"/>
              <a:gd name="T69" fmla="*/ 2757 h 4629"/>
              <a:gd name="T70" fmla="*/ 4726 w 6404"/>
              <a:gd name="T71" fmla="*/ 1858 h 4629"/>
              <a:gd name="T72" fmla="*/ 5129 w 6404"/>
              <a:gd name="T73" fmla="*/ 2757 h 4629"/>
              <a:gd name="T74" fmla="*/ 3606 w 6404"/>
              <a:gd name="T75" fmla="*/ 1000 h 4629"/>
              <a:gd name="T76" fmla="*/ 3514 w 6404"/>
              <a:gd name="T77" fmla="*/ 1250 h 4629"/>
              <a:gd name="T78" fmla="*/ 3733 w 6404"/>
              <a:gd name="T79" fmla="*/ 1931 h 4629"/>
              <a:gd name="T80" fmla="*/ 2937 w 6404"/>
              <a:gd name="T81" fmla="*/ 855 h 4629"/>
              <a:gd name="T82" fmla="*/ 2722 w 6404"/>
              <a:gd name="T83" fmla="*/ 732 h 4629"/>
              <a:gd name="T84" fmla="*/ 1567 w 6404"/>
              <a:gd name="T85" fmla="*/ 1104 h 4629"/>
              <a:gd name="T86" fmla="*/ 5892 w 6404"/>
              <a:gd name="T87" fmla="*/ 1157 h 4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04" h="4629">
                <a:moveTo>
                  <a:pt x="6319" y="1039"/>
                </a:moveTo>
                <a:lnTo>
                  <a:pt x="3724" y="13"/>
                </a:lnTo>
                <a:cubicBezTo>
                  <a:pt x="3692" y="0"/>
                  <a:pt x="3657" y="0"/>
                  <a:pt x="3626" y="13"/>
                </a:cubicBezTo>
                <a:lnTo>
                  <a:pt x="1149" y="981"/>
                </a:lnTo>
                <a:cubicBezTo>
                  <a:pt x="1097" y="1002"/>
                  <a:pt x="1064" y="1051"/>
                  <a:pt x="1064" y="1106"/>
                </a:cubicBezTo>
                <a:cubicBezTo>
                  <a:pt x="1064" y="1161"/>
                  <a:pt x="1098" y="1211"/>
                  <a:pt x="1150" y="1230"/>
                </a:cubicBezTo>
                <a:lnTo>
                  <a:pt x="1791" y="1475"/>
                </a:lnTo>
                <a:lnTo>
                  <a:pt x="53" y="2862"/>
                </a:lnTo>
                <a:cubicBezTo>
                  <a:pt x="19" y="2890"/>
                  <a:pt x="0" y="2933"/>
                  <a:pt x="3" y="2977"/>
                </a:cubicBezTo>
                <a:cubicBezTo>
                  <a:pt x="7" y="3021"/>
                  <a:pt x="32" y="3060"/>
                  <a:pt x="70" y="3082"/>
                </a:cubicBezTo>
                <a:lnTo>
                  <a:pt x="1024" y="3626"/>
                </a:lnTo>
                <a:lnTo>
                  <a:pt x="600" y="4433"/>
                </a:lnTo>
                <a:cubicBezTo>
                  <a:pt x="565" y="4498"/>
                  <a:pt x="590" y="4579"/>
                  <a:pt x="655" y="4613"/>
                </a:cubicBezTo>
                <a:cubicBezTo>
                  <a:pt x="675" y="4624"/>
                  <a:pt x="696" y="4629"/>
                  <a:pt x="717" y="4629"/>
                </a:cubicBezTo>
                <a:cubicBezTo>
                  <a:pt x="765" y="4629"/>
                  <a:pt x="812" y="4603"/>
                  <a:pt x="836" y="4557"/>
                </a:cubicBezTo>
                <a:lnTo>
                  <a:pt x="1256" y="3759"/>
                </a:lnTo>
                <a:lnTo>
                  <a:pt x="2268" y="4337"/>
                </a:lnTo>
                <a:cubicBezTo>
                  <a:pt x="2289" y="4348"/>
                  <a:pt x="2311" y="4354"/>
                  <a:pt x="2334" y="4354"/>
                </a:cubicBezTo>
                <a:cubicBezTo>
                  <a:pt x="2354" y="4354"/>
                  <a:pt x="2375" y="4350"/>
                  <a:pt x="2393" y="4341"/>
                </a:cubicBezTo>
                <a:cubicBezTo>
                  <a:pt x="2433" y="4321"/>
                  <a:pt x="2460" y="4283"/>
                  <a:pt x="2466" y="4239"/>
                </a:cubicBezTo>
                <a:lnTo>
                  <a:pt x="2615" y="3174"/>
                </a:lnTo>
                <a:lnTo>
                  <a:pt x="3665" y="3591"/>
                </a:lnTo>
                <a:cubicBezTo>
                  <a:pt x="3668" y="3593"/>
                  <a:pt x="3671" y="3594"/>
                  <a:pt x="3674" y="3594"/>
                </a:cubicBezTo>
                <a:cubicBezTo>
                  <a:pt x="3674" y="3595"/>
                  <a:pt x="3675" y="3595"/>
                  <a:pt x="3676" y="3595"/>
                </a:cubicBezTo>
                <a:cubicBezTo>
                  <a:pt x="3681" y="3597"/>
                  <a:pt x="3687" y="3598"/>
                  <a:pt x="3692" y="3599"/>
                </a:cubicBezTo>
                <a:cubicBezTo>
                  <a:pt x="3694" y="3599"/>
                  <a:pt x="3695" y="3599"/>
                  <a:pt x="3697" y="3600"/>
                </a:cubicBezTo>
                <a:cubicBezTo>
                  <a:pt x="3702" y="3600"/>
                  <a:pt x="3707" y="3601"/>
                  <a:pt x="3713" y="3601"/>
                </a:cubicBezTo>
                <a:cubicBezTo>
                  <a:pt x="3713" y="3601"/>
                  <a:pt x="3714" y="3601"/>
                  <a:pt x="3714" y="3601"/>
                </a:cubicBezTo>
                <a:cubicBezTo>
                  <a:pt x="3720" y="3601"/>
                  <a:pt x="3726" y="3600"/>
                  <a:pt x="3732" y="3600"/>
                </a:cubicBezTo>
                <a:cubicBezTo>
                  <a:pt x="3733" y="3599"/>
                  <a:pt x="3734" y="3599"/>
                  <a:pt x="3735" y="3599"/>
                </a:cubicBezTo>
                <a:cubicBezTo>
                  <a:pt x="3741" y="3598"/>
                  <a:pt x="3747" y="3597"/>
                  <a:pt x="3752" y="3595"/>
                </a:cubicBezTo>
                <a:cubicBezTo>
                  <a:pt x="3753" y="3595"/>
                  <a:pt x="3754" y="3595"/>
                  <a:pt x="3754" y="3594"/>
                </a:cubicBezTo>
                <a:cubicBezTo>
                  <a:pt x="3758" y="3594"/>
                  <a:pt x="3761" y="3593"/>
                  <a:pt x="3764" y="3591"/>
                </a:cubicBezTo>
                <a:lnTo>
                  <a:pt x="4601" y="3256"/>
                </a:lnTo>
                <a:cubicBezTo>
                  <a:pt x="4601" y="3258"/>
                  <a:pt x="4602" y="3261"/>
                  <a:pt x="4603" y="3263"/>
                </a:cubicBezTo>
                <a:lnTo>
                  <a:pt x="4397" y="4200"/>
                </a:lnTo>
                <a:cubicBezTo>
                  <a:pt x="4387" y="4247"/>
                  <a:pt x="4403" y="4296"/>
                  <a:pt x="4438" y="4328"/>
                </a:cubicBezTo>
                <a:cubicBezTo>
                  <a:pt x="4463" y="4351"/>
                  <a:pt x="4495" y="4362"/>
                  <a:pt x="4527" y="4362"/>
                </a:cubicBezTo>
                <a:cubicBezTo>
                  <a:pt x="4541" y="4362"/>
                  <a:pt x="4556" y="4360"/>
                  <a:pt x="4570" y="4355"/>
                </a:cubicBezTo>
                <a:lnTo>
                  <a:pt x="5267" y="4123"/>
                </a:lnTo>
                <a:cubicBezTo>
                  <a:pt x="5307" y="4110"/>
                  <a:pt x="5338" y="4078"/>
                  <a:pt x="5351" y="4038"/>
                </a:cubicBezTo>
                <a:cubicBezTo>
                  <a:pt x="5365" y="3999"/>
                  <a:pt x="5358" y="3955"/>
                  <a:pt x="5334" y="3920"/>
                </a:cubicBezTo>
                <a:lnTo>
                  <a:pt x="4863" y="3239"/>
                </a:lnTo>
                <a:cubicBezTo>
                  <a:pt x="4863" y="3236"/>
                  <a:pt x="4864" y="3232"/>
                  <a:pt x="4864" y="3228"/>
                </a:cubicBezTo>
                <a:cubicBezTo>
                  <a:pt x="4864" y="3214"/>
                  <a:pt x="4865" y="3187"/>
                  <a:pt x="4865" y="3150"/>
                </a:cubicBezTo>
                <a:lnTo>
                  <a:pt x="5312" y="2971"/>
                </a:lnTo>
                <a:cubicBezTo>
                  <a:pt x="5363" y="2951"/>
                  <a:pt x="5396" y="2902"/>
                  <a:pt x="5396" y="2848"/>
                </a:cubicBezTo>
                <a:lnTo>
                  <a:pt x="5396" y="1618"/>
                </a:lnTo>
                <a:lnTo>
                  <a:pt x="6315" y="1288"/>
                </a:lnTo>
                <a:cubicBezTo>
                  <a:pt x="6367" y="1270"/>
                  <a:pt x="6402" y="1221"/>
                  <a:pt x="6403" y="1165"/>
                </a:cubicBezTo>
                <a:cubicBezTo>
                  <a:pt x="6404" y="1110"/>
                  <a:pt x="6370" y="1059"/>
                  <a:pt x="6319" y="1039"/>
                </a:cubicBezTo>
                <a:close/>
                <a:moveTo>
                  <a:pt x="2229" y="4007"/>
                </a:moveTo>
                <a:lnTo>
                  <a:pt x="373" y="2948"/>
                </a:lnTo>
                <a:lnTo>
                  <a:pt x="2627" y="1149"/>
                </a:lnTo>
                <a:lnTo>
                  <a:pt x="2229" y="4007"/>
                </a:lnTo>
                <a:close/>
                <a:moveTo>
                  <a:pt x="3581" y="3271"/>
                </a:moveTo>
                <a:lnTo>
                  <a:pt x="2652" y="2903"/>
                </a:lnTo>
                <a:lnTo>
                  <a:pt x="2798" y="1859"/>
                </a:lnTo>
                <a:lnTo>
                  <a:pt x="3581" y="2158"/>
                </a:lnTo>
                <a:lnTo>
                  <a:pt x="3581" y="3271"/>
                </a:lnTo>
                <a:close/>
                <a:moveTo>
                  <a:pt x="3847" y="3271"/>
                </a:moveTo>
                <a:lnTo>
                  <a:pt x="3847" y="2174"/>
                </a:lnTo>
                <a:lnTo>
                  <a:pt x="4476" y="1948"/>
                </a:lnTo>
                <a:cubicBezTo>
                  <a:pt x="4564" y="2206"/>
                  <a:pt x="4592" y="2654"/>
                  <a:pt x="4597" y="2970"/>
                </a:cubicBezTo>
                <a:lnTo>
                  <a:pt x="3847" y="3271"/>
                </a:lnTo>
                <a:close/>
                <a:moveTo>
                  <a:pt x="5014" y="3926"/>
                </a:moveTo>
                <a:lnTo>
                  <a:pt x="4708" y="4028"/>
                </a:lnTo>
                <a:lnTo>
                  <a:pt x="4798" y="3615"/>
                </a:lnTo>
                <a:lnTo>
                  <a:pt x="5014" y="3926"/>
                </a:lnTo>
                <a:close/>
                <a:moveTo>
                  <a:pt x="5129" y="2757"/>
                </a:moveTo>
                <a:lnTo>
                  <a:pt x="4862" y="2864"/>
                </a:lnTo>
                <a:cubicBezTo>
                  <a:pt x="4853" y="2563"/>
                  <a:pt x="4823" y="2143"/>
                  <a:pt x="4726" y="1858"/>
                </a:cubicBezTo>
                <a:lnTo>
                  <a:pt x="5129" y="1714"/>
                </a:lnTo>
                <a:lnTo>
                  <a:pt x="5129" y="2757"/>
                </a:lnTo>
                <a:close/>
                <a:moveTo>
                  <a:pt x="4601" y="1620"/>
                </a:moveTo>
                <a:cubicBezTo>
                  <a:pt x="4319" y="1265"/>
                  <a:pt x="3636" y="1011"/>
                  <a:pt x="3606" y="1000"/>
                </a:cubicBezTo>
                <a:cubicBezTo>
                  <a:pt x="3537" y="974"/>
                  <a:pt x="3460" y="1009"/>
                  <a:pt x="3435" y="1078"/>
                </a:cubicBezTo>
                <a:cubicBezTo>
                  <a:pt x="3409" y="1148"/>
                  <a:pt x="3444" y="1224"/>
                  <a:pt x="3514" y="1250"/>
                </a:cubicBezTo>
                <a:cubicBezTo>
                  <a:pt x="3681" y="1312"/>
                  <a:pt x="4108" y="1501"/>
                  <a:pt x="4330" y="1717"/>
                </a:cubicBezTo>
                <a:lnTo>
                  <a:pt x="3733" y="1931"/>
                </a:lnTo>
                <a:lnTo>
                  <a:pt x="2835" y="1588"/>
                </a:lnTo>
                <a:lnTo>
                  <a:pt x="2937" y="855"/>
                </a:lnTo>
                <a:cubicBezTo>
                  <a:pt x="2945" y="801"/>
                  <a:pt x="2919" y="748"/>
                  <a:pt x="2871" y="721"/>
                </a:cubicBezTo>
                <a:cubicBezTo>
                  <a:pt x="2824" y="694"/>
                  <a:pt x="2765" y="698"/>
                  <a:pt x="2722" y="732"/>
                </a:cubicBezTo>
                <a:lnTo>
                  <a:pt x="2033" y="1282"/>
                </a:lnTo>
                <a:lnTo>
                  <a:pt x="1567" y="1104"/>
                </a:lnTo>
                <a:lnTo>
                  <a:pt x="3674" y="280"/>
                </a:lnTo>
                <a:lnTo>
                  <a:pt x="5892" y="1157"/>
                </a:lnTo>
                <a:lnTo>
                  <a:pt x="4601" y="1620"/>
                </a:lnTo>
                <a:close/>
              </a:path>
            </a:pathLst>
          </a:custGeom>
          <a:solidFill>
            <a:schemeClr val="accent1"/>
          </a:solidFill>
          <a:ln>
            <a:noFill/>
          </a:ln>
        </p:spPr>
      </p:sp>
      <p:sp>
        <p:nvSpPr>
          <p:cNvPr id="40" name="online-learning_288016">
            <a:extLst>
              <a:ext uri="{FF2B5EF4-FFF2-40B4-BE49-F238E27FC236}">
                <a16:creationId xmlns:a16="http://schemas.microsoft.com/office/drawing/2014/main" id="{77C4E1E4-6BFF-4D90-A7C9-697CA9931A10}"/>
              </a:ext>
            </a:extLst>
          </p:cNvPr>
          <p:cNvSpPr>
            <a:spLocks noChangeAspect="1"/>
          </p:cNvSpPr>
          <p:nvPr/>
        </p:nvSpPr>
        <p:spPr bwMode="auto">
          <a:xfrm>
            <a:off x="1648577" y="3613581"/>
            <a:ext cx="1232869" cy="1179464"/>
          </a:xfrm>
          <a:custGeom>
            <a:avLst/>
            <a:gdLst>
              <a:gd name="T0" fmla="*/ 6542 w 6827"/>
              <a:gd name="T1" fmla="*/ 997 h 6541"/>
              <a:gd name="T2" fmla="*/ 6540 w 6827"/>
              <a:gd name="T3" fmla="*/ 971 h 6541"/>
              <a:gd name="T4" fmla="*/ 6535 w 6827"/>
              <a:gd name="T5" fmla="*/ 953 h 6541"/>
              <a:gd name="T6" fmla="*/ 6525 w 6827"/>
              <a:gd name="T7" fmla="*/ 930 h 6541"/>
              <a:gd name="T8" fmla="*/ 6516 w 6827"/>
              <a:gd name="T9" fmla="*/ 915 h 6541"/>
              <a:gd name="T10" fmla="*/ 6503 w 6827"/>
              <a:gd name="T11" fmla="*/ 899 h 6541"/>
              <a:gd name="T12" fmla="*/ 6490 w 6827"/>
              <a:gd name="T13" fmla="*/ 887 h 6541"/>
              <a:gd name="T14" fmla="*/ 6469 w 6827"/>
              <a:gd name="T15" fmla="*/ 873 h 6541"/>
              <a:gd name="T16" fmla="*/ 6452 w 6827"/>
              <a:gd name="T17" fmla="*/ 865 h 6541"/>
              <a:gd name="T18" fmla="*/ 6437 w 6827"/>
              <a:gd name="T19" fmla="*/ 860 h 6541"/>
              <a:gd name="T20" fmla="*/ 105 w 6827"/>
              <a:gd name="T21" fmla="*/ 860 h 6541"/>
              <a:gd name="T22" fmla="*/ 1281 w 6827"/>
              <a:gd name="T23" fmla="*/ 1455 h 6541"/>
              <a:gd name="T24" fmla="*/ 997 w 6827"/>
              <a:gd name="T25" fmla="*/ 4266 h 6541"/>
              <a:gd name="T26" fmla="*/ 4879 w 6827"/>
              <a:gd name="T27" fmla="*/ 5875 h 6541"/>
              <a:gd name="T28" fmla="*/ 5261 w 6827"/>
              <a:gd name="T29" fmla="*/ 2987 h 6541"/>
              <a:gd name="T30" fmla="*/ 6258 w 6827"/>
              <a:gd name="T31" fmla="*/ 1665 h 6541"/>
              <a:gd name="T32" fmla="*/ 5974 w 6827"/>
              <a:gd name="T33" fmla="*/ 2845 h 6541"/>
              <a:gd name="T34" fmla="*/ 6827 w 6827"/>
              <a:gd name="T35" fmla="*/ 2845 h 6541"/>
              <a:gd name="T36" fmla="*/ 1624 w 6827"/>
              <a:gd name="T37" fmla="*/ 3149 h 6541"/>
              <a:gd name="T38" fmla="*/ 1286 w 6827"/>
              <a:gd name="T39" fmla="*/ 4127 h 6541"/>
              <a:gd name="T40" fmla="*/ 1286 w 6827"/>
              <a:gd name="T41" fmla="*/ 4411 h 6541"/>
              <a:gd name="T42" fmla="*/ 1538 w 6827"/>
              <a:gd name="T43" fmla="*/ 5247 h 6541"/>
              <a:gd name="T44" fmla="*/ 2211 w 6827"/>
              <a:gd name="T45" fmla="*/ 5531 h 6541"/>
              <a:gd name="T46" fmla="*/ 1864 w 6827"/>
              <a:gd name="T47" fmla="*/ 5674 h 6541"/>
              <a:gd name="T48" fmla="*/ 2803 w 6827"/>
              <a:gd name="T49" fmla="*/ 6201 h 6541"/>
              <a:gd name="T50" fmla="*/ 3129 w 6827"/>
              <a:gd name="T51" fmla="*/ 5531 h 6541"/>
              <a:gd name="T52" fmla="*/ 2294 w 6827"/>
              <a:gd name="T53" fmla="*/ 4411 h 6541"/>
              <a:gd name="T54" fmla="*/ 3129 w 6827"/>
              <a:gd name="T55" fmla="*/ 4127 h 6541"/>
              <a:gd name="T56" fmla="*/ 3129 w 6827"/>
              <a:gd name="T57" fmla="*/ 3520 h 6541"/>
              <a:gd name="T58" fmla="*/ 1994 w 6827"/>
              <a:gd name="T59" fmla="*/ 1992 h 6541"/>
              <a:gd name="T60" fmla="*/ 1709 w 6827"/>
              <a:gd name="T61" fmla="*/ 2875 h 6541"/>
              <a:gd name="T62" fmla="*/ 3234 w 6827"/>
              <a:gd name="T63" fmla="*/ 1987 h 6541"/>
              <a:gd name="T64" fmla="*/ 4977 w 6827"/>
              <a:gd name="T65" fmla="*/ 1532 h 6541"/>
              <a:gd name="T66" fmla="*/ 1994 w 6827"/>
              <a:gd name="T67" fmla="*/ 2930 h 6541"/>
              <a:gd name="T68" fmla="*/ 3413 w 6827"/>
              <a:gd name="T69" fmla="*/ 3520 h 6541"/>
              <a:gd name="T70" fmla="*/ 3739 w 6827"/>
              <a:gd name="T71" fmla="*/ 6201 h 6541"/>
              <a:gd name="T72" fmla="*/ 4031 w 6827"/>
              <a:gd name="T73" fmla="*/ 5531 h 6541"/>
              <a:gd name="T74" fmla="*/ 3413 w 6827"/>
              <a:gd name="T75" fmla="*/ 4411 h 6541"/>
              <a:gd name="T76" fmla="*/ 3413 w 6827"/>
              <a:gd name="T77" fmla="*/ 5247 h 6541"/>
              <a:gd name="T78" fmla="*/ 4246 w 6827"/>
              <a:gd name="T79" fmla="*/ 5777 h 6541"/>
              <a:gd name="T80" fmla="*/ 4678 w 6827"/>
              <a:gd name="T81" fmla="*/ 5674 h 6541"/>
              <a:gd name="T82" fmla="*/ 4532 w 6827"/>
              <a:gd name="T83" fmla="*/ 4411 h 6541"/>
              <a:gd name="T84" fmla="*/ 5256 w 6827"/>
              <a:gd name="T85" fmla="*/ 4127 h 6541"/>
              <a:gd name="T86" fmla="*/ 4918 w 6827"/>
              <a:gd name="T87" fmla="*/ 3149 h 6541"/>
              <a:gd name="T88" fmla="*/ 5338 w 6827"/>
              <a:gd name="T89" fmla="*/ 1139 h 6541"/>
              <a:gd name="T90" fmla="*/ 3271 w 6827"/>
              <a:gd name="T91" fmla="*/ 291 h 6541"/>
              <a:gd name="T92" fmla="*/ 2988 w 6827"/>
              <a:gd name="T93" fmla="*/ 997 h 6541"/>
              <a:gd name="T94" fmla="*/ 6258 w 6827"/>
              <a:gd name="T95" fmla="*/ 2703 h 6541"/>
              <a:gd name="T96" fmla="*/ 6542 w 6827"/>
              <a:gd name="T97" fmla="*/ 2177 h 6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27" h="6541">
                <a:moveTo>
                  <a:pt x="6803" y="2055"/>
                </a:moveTo>
                <a:lnTo>
                  <a:pt x="6542" y="1665"/>
                </a:lnTo>
                <a:lnTo>
                  <a:pt x="6542" y="997"/>
                </a:lnTo>
                <a:cubicBezTo>
                  <a:pt x="6542" y="993"/>
                  <a:pt x="6542" y="988"/>
                  <a:pt x="6542" y="984"/>
                </a:cubicBezTo>
                <a:cubicBezTo>
                  <a:pt x="6541" y="982"/>
                  <a:pt x="6541" y="981"/>
                  <a:pt x="6541" y="979"/>
                </a:cubicBezTo>
                <a:cubicBezTo>
                  <a:pt x="6541" y="976"/>
                  <a:pt x="6540" y="973"/>
                  <a:pt x="6540" y="971"/>
                </a:cubicBezTo>
                <a:cubicBezTo>
                  <a:pt x="6539" y="969"/>
                  <a:pt x="6539" y="967"/>
                  <a:pt x="6539" y="965"/>
                </a:cubicBezTo>
                <a:cubicBezTo>
                  <a:pt x="6538" y="963"/>
                  <a:pt x="6537" y="960"/>
                  <a:pt x="6537" y="958"/>
                </a:cubicBezTo>
                <a:cubicBezTo>
                  <a:pt x="6536" y="956"/>
                  <a:pt x="6536" y="954"/>
                  <a:pt x="6535" y="953"/>
                </a:cubicBezTo>
                <a:cubicBezTo>
                  <a:pt x="6534" y="950"/>
                  <a:pt x="6533" y="948"/>
                  <a:pt x="6533" y="946"/>
                </a:cubicBezTo>
                <a:cubicBezTo>
                  <a:pt x="6532" y="944"/>
                  <a:pt x="6531" y="942"/>
                  <a:pt x="6531" y="941"/>
                </a:cubicBezTo>
                <a:cubicBezTo>
                  <a:pt x="6529" y="937"/>
                  <a:pt x="6527" y="933"/>
                  <a:pt x="6525" y="930"/>
                </a:cubicBezTo>
                <a:cubicBezTo>
                  <a:pt x="6525" y="929"/>
                  <a:pt x="6524" y="927"/>
                  <a:pt x="6523" y="926"/>
                </a:cubicBezTo>
                <a:cubicBezTo>
                  <a:pt x="6522" y="924"/>
                  <a:pt x="6520" y="921"/>
                  <a:pt x="6519" y="919"/>
                </a:cubicBezTo>
                <a:cubicBezTo>
                  <a:pt x="6518" y="917"/>
                  <a:pt x="6517" y="916"/>
                  <a:pt x="6516" y="915"/>
                </a:cubicBezTo>
                <a:cubicBezTo>
                  <a:pt x="6514" y="913"/>
                  <a:pt x="6513" y="910"/>
                  <a:pt x="6511" y="908"/>
                </a:cubicBezTo>
                <a:cubicBezTo>
                  <a:pt x="6510" y="907"/>
                  <a:pt x="6509" y="906"/>
                  <a:pt x="6508" y="905"/>
                </a:cubicBezTo>
                <a:cubicBezTo>
                  <a:pt x="6506" y="903"/>
                  <a:pt x="6504" y="901"/>
                  <a:pt x="6503" y="899"/>
                </a:cubicBezTo>
                <a:cubicBezTo>
                  <a:pt x="6502" y="898"/>
                  <a:pt x="6501" y="896"/>
                  <a:pt x="6499" y="895"/>
                </a:cubicBezTo>
                <a:cubicBezTo>
                  <a:pt x="6497" y="893"/>
                  <a:pt x="6495" y="891"/>
                  <a:pt x="6493" y="889"/>
                </a:cubicBezTo>
                <a:cubicBezTo>
                  <a:pt x="6492" y="888"/>
                  <a:pt x="6491" y="888"/>
                  <a:pt x="6490" y="887"/>
                </a:cubicBezTo>
                <a:cubicBezTo>
                  <a:pt x="6487" y="884"/>
                  <a:pt x="6483" y="882"/>
                  <a:pt x="6480" y="879"/>
                </a:cubicBezTo>
                <a:cubicBezTo>
                  <a:pt x="6479" y="879"/>
                  <a:pt x="6478" y="878"/>
                  <a:pt x="6478" y="878"/>
                </a:cubicBezTo>
                <a:cubicBezTo>
                  <a:pt x="6475" y="876"/>
                  <a:pt x="6472" y="874"/>
                  <a:pt x="6469" y="873"/>
                </a:cubicBezTo>
                <a:cubicBezTo>
                  <a:pt x="6467" y="872"/>
                  <a:pt x="6466" y="871"/>
                  <a:pt x="6464" y="870"/>
                </a:cubicBezTo>
                <a:cubicBezTo>
                  <a:pt x="6462" y="869"/>
                  <a:pt x="6460" y="868"/>
                  <a:pt x="6458" y="867"/>
                </a:cubicBezTo>
                <a:cubicBezTo>
                  <a:pt x="6456" y="866"/>
                  <a:pt x="6454" y="865"/>
                  <a:pt x="6452" y="865"/>
                </a:cubicBezTo>
                <a:cubicBezTo>
                  <a:pt x="6450" y="864"/>
                  <a:pt x="6448" y="863"/>
                  <a:pt x="6446" y="863"/>
                </a:cubicBezTo>
                <a:cubicBezTo>
                  <a:pt x="6444" y="862"/>
                  <a:pt x="6442" y="861"/>
                  <a:pt x="6439" y="861"/>
                </a:cubicBezTo>
                <a:cubicBezTo>
                  <a:pt x="6439" y="860"/>
                  <a:pt x="6438" y="860"/>
                  <a:pt x="6437" y="860"/>
                </a:cubicBezTo>
                <a:lnTo>
                  <a:pt x="3308" y="7"/>
                </a:lnTo>
                <a:cubicBezTo>
                  <a:pt x="3284" y="0"/>
                  <a:pt x="3258" y="0"/>
                  <a:pt x="3234" y="7"/>
                </a:cubicBezTo>
                <a:lnTo>
                  <a:pt x="105" y="860"/>
                </a:lnTo>
                <a:cubicBezTo>
                  <a:pt x="43" y="877"/>
                  <a:pt x="0" y="933"/>
                  <a:pt x="0" y="997"/>
                </a:cubicBezTo>
                <a:cubicBezTo>
                  <a:pt x="0" y="1061"/>
                  <a:pt x="43" y="1117"/>
                  <a:pt x="105" y="1134"/>
                </a:cubicBezTo>
                <a:lnTo>
                  <a:pt x="1281" y="1455"/>
                </a:lnTo>
                <a:lnTo>
                  <a:pt x="1281" y="2987"/>
                </a:lnTo>
                <a:cubicBezTo>
                  <a:pt x="1281" y="3027"/>
                  <a:pt x="1298" y="3063"/>
                  <a:pt x="1324" y="3089"/>
                </a:cubicBezTo>
                <a:cubicBezTo>
                  <a:pt x="1111" y="3441"/>
                  <a:pt x="997" y="3845"/>
                  <a:pt x="997" y="4266"/>
                </a:cubicBezTo>
                <a:cubicBezTo>
                  <a:pt x="997" y="4874"/>
                  <a:pt x="1233" y="5445"/>
                  <a:pt x="1663" y="5875"/>
                </a:cubicBezTo>
                <a:cubicBezTo>
                  <a:pt x="2092" y="6304"/>
                  <a:pt x="2664" y="6541"/>
                  <a:pt x="3271" y="6541"/>
                </a:cubicBezTo>
                <a:cubicBezTo>
                  <a:pt x="3879" y="6541"/>
                  <a:pt x="4450" y="6304"/>
                  <a:pt x="4879" y="5875"/>
                </a:cubicBezTo>
                <a:cubicBezTo>
                  <a:pt x="5309" y="5445"/>
                  <a:pt x="5546" y="4874"/>
                  <a:pt x="5546" y="4266"/>
                </a:cubicBezTo>
                <a:cubicBezTo>
                  <a:pt x="5546" y="3845"/>
                  <a:pt x="5431" y="3441"/>
                  <a:pt x="5218" y="3089"/>
                </a:cubicBezTo>
                <a:cubicBezTo>
                  <a:pt x="5244" y="3063"/>
                  <a:pt x="5261" y="3027"/>
                  <a:pt x="5261" y="2987"/>
                </a:cubicBezTo>
                <a:lnTo>
                  <a:pt x="5261" y="1455"/>
                </a:lnTo>
                <a:lnTo>
                  <a:pt x="6258" y="1183"/>
                </a:lnTo>
                <a:lnTo>
                  <a:pt x="6258" y="1665"/>
                </a:lnTo>
                <a:lnTo>
                  <a:pt x="5998" y="2055"/>
                </a:lnTo>
                <a:cubicBezTo>
                  <a:pt x="5982" y="2079"/>
                  <a:pt x="5974" y="2106"/>
                  <a:pt x="5974" y="2134"/>
                </a:cubicBezTo>
                <a:lnTo>
                  <a:pt x="5974" y="2845"/>
                </a:lnTo>
                <a:cubicBezTo>
                  <a:pt x="5974" y="2923"/>
                  <a:pt x="6037" y="2987"/>
                  <a:pt x="6116" y="2987"/>
                </a:cubicBezTo>
                <a:lnTo>
                  <a:pt x="6684" y="2987"/>
                </a:lnTo>
                <a:cubicBezTo>
                  <a:pt x="6763" y="2987"/>
                  <a:pt x="6827" y="2923"/>
                  <a:pt x="6827" y="2845"/>
                </a:cubicBezTo>
                <a:lnTo>
                  <a:pt x="6827" y="2134"/>
                </a:lnTo>
                <a:cubicBezTo>
                  <a:pt x="6827" y="2106"/>
                  <a:pt x="6818" y="2079"/>
                  <a:pt x="6803" y="2055"/>
                </a:cubicBezTo>
                <a:close/>
                <a:moveTo>
                  <a:pt x="1624" y="3149"/>
                </a:moveTo>
                <a:cubicBezTo>
                  <a:pt x="1767" y="3171"/>
                  <a:pt x="1948" y="3209"/>
                  <a:pt x="2139" y="3255"/>
                </a:cubicBezTo>
                <a:cubicBezTo>
                  <a:pt x="2074" y="3511"/>
                  <a:pt x="2022" y="3808"/>
                  <a:pt x="2010" y="4127"/>
                </a:cubicBezTo>
                <a:lnTo>
                  <a:pt x="1286" y="4127"/>
                </a:lnTo>
                <a:cubicBezTo>
                  <a:pt x="1310" y="3774"/>
                  <a:pt x="1427" y="3438"/>
                  <a:pt x="1624" y="3149"/>
                </a:cubicBezTo>
                <a:close/>
                <a:moveTo>
                  <a:pt x="1538" y="5247"/>
                </a:moveTo>
                <a:cubicBezTo>
                  <a:pt x="1394" y="4992"/>
                  <a:pt x="1307" y="4708"/>
                  <a:pt x="1286" y="4411"/>
                </a:cubicBezTo>
                <a:lnTo>
                  <a:pt x="2010" y="4411"/>
                </a:lnTo>
                <a:cubicBezTo>
                  <a:pt x="2022" y="4715"/>
                  <a:pt x="2070" y="4999"/>
                  <a:pt x="2131" y="5247"/>
                </a:cubicBezTo>
                <a:lnTo>
                  <a:pt x="1538" y="5247"/>
                </a:lnTo>
                <a:close/>
                <a:moveTo>
                  <a:pt x="1864" y="5674"/>
                </a:moveTo>
                <a:cubicBezTo>
                  <a:pt x="1818" y="5628"/>
                  <a:pt x="1775" y="5580"/>
                  <a:pt x="1734" y="5531"/>
                </a:cubicBezTo>
                <a:lnTo>
                  <a:pt x="2211" y="5531"/>
                </a:lnTo>
                <a:cubicBezTo>
                  <a:pt x="2240" y="5621"/>
                  <a:pt x="2269" y="5703"/>
                  <a:pt x="2296" y="5777"/>
                </a:cubicBezTo>
                <a:cubicBezTo>
                  <a:pt x="2338" y="5885"/>
                  <a:pt x="2379" y="5982"/>
                  <a:pt x="2416" y="6065"/>
                </a:cubicBezTo>
                <a:cubicBezTo>
                  <a:pt x="2214" y="5968"/>
                  <a:pt x="2027" y="5837"/>
                  <a:pt x="1864" y="5674"/>
                </a:cubicBezTo>
                <a:close/>
                <a:moveTo>
                  <a:pt x="3129" y="5531"/>
                </a:moveTo>
                <a:lnTo>
                  <a:pt x="3129" y="6251"/>
                </a:lnTo>
                <a:cubicBezTo>
                  <a:pt x="3018" y="6244"/>
                  <a:pt x="2910" y="6227"/>
                  <a:pt x="2803" y="6201"/>
                </a:cubicBezTo>
                <a:cubicBezTo>
                  <a:pt x="2749" y="6104"/>
                  <a:pt x="2624" y="5863"/>
                  <a:pt x="2511" y="5531"/>
                </a:cubicBezTo>
                <a:lnTo>
                  <a:pt x="3129" y="5531"/>
                </a:lnTo>
                <a:lnTo>
                  <a:pt x="3129" y="5531"/>
                </a:lnTo>
                <a:close/>
                <a:moveTo>
                  <a:pt x="3129" y="5247"/>
                </a:moveTo>
                <a:lnTo>
                  <a:pt x="2425" y="5247"/>
                </a:lnTo>
                <a:cubicBezTo>
                  <a:pt x="2359" y="4997"/>
                  <a:pt x="2307" y="4714"/>
                  <a:pt x="2294" y="4411"/>
                </a:cubicBezTo>
                <a:lnTo>
                  <a:pt x="3129" y="4411"/>
                </a:lnTo>
                <a:lnTo>
                  <a:pt x="3129" y="5247"/>
                </a:lnTo>
                <a:close/>
                <a:moveTo>
                  <a:pt x="3129" y="4127"/>
                </a:moveTo>
                <a:lnTo>
                  <a:pt x="2294" y="4127"/>
                </a:lnTo>
                <a:cubicBezTo>
                  <a:pt x="2306" y="3837"/>
                  <a:pt x="2353" y="3565"/>
                  <a:pt x="2415" y="3323"/>
                </a:cubicBezTo>
                <a:cubicBezTo>
                  <a:pt x="2685" y="3393"/>
                  <a:pt x="2947" y="3467"/>
                  <a:pt x="3129" y="3520"/>
                </a:cubicBezTo>
                <a:lnTo>
                  <a:pt x="3129" y="4127"/>
                </a:lnTo>
                <a:close/>
                <a:moveTo>
                  <a:pt x="1994" y="2930"/>
                </a:moveTo>
                <a:lnTo>
                  <a:pt x="1994" y="1992"/>
                </a:lnTo>
                <a:cubicBezTo>
                  <a:pt x="1994" y="1914"/>
                  <a:pt x="1930" y="1850"/>
                  <a:pt x="1851" y="1850"/>
                </a:cubicBezTo>
                <a:cubicBezTo>
                  <a:pt x="1773" y="1850"/>
                  <a:pt x="1709" y="1914"/>
                  <a:pt x="1709" y="1992"/>
                </a:cubicBezTo>
                <a:lnTo>
                  <a:pt x="1709" y="2875"/>
                </a:lnTo>
                <a:cubicBezTo>
                  <a:pt x="1658" y="2867"/>
                  <a:pt x="1610" y="2860"/>
                  <a:pt x="1565" y="2855"/>
                </a:cubicBezTo>
                <a:lnTo>
                  <a:pt x="1565" y="1532"/>
                </a:lnTo>
                <a:lnTo>
                  <a:pt x="3234" y="1987"/>
                </a:lnTo>
                <a:cubicBezTo>
                  <a:pt x="3246" y="1990"/>
                  <a:pt x="3258" y="1992"/>
                  <a:pt x="3271" y="1992"/>
                </a:cubicBezTo>
                <a:cubicBezTo>
                  <a:pt x="3284" y="1992"/>
                  <a:pt x="3296" y="1990"/>
                  <a:pt x="3308" y="1987"/>
                </a:cubicBezTo>
                <a:lnTo>
                  <a:pt x="4977" y="1532"/>
                </a:lnTo>
                <a:lnTo>
                  <a:pt x="4977" y="2855"/>
                </a:lnTo>
                <a:cubicBezTo>
                  <a:pt x="4486" y="2911"/>
                  <a:pt x="3489" y="3201"/>
                  <a:pt x="3271" y="3265"/>
                </a:cubicBezTo>
                <a:cubicBezTo>
                  <a:pt x="3106" y="3216"/>
                  <a:pt x="2494" y="3038"/>
                  <a:pt x="1994" y="2930"/>
                </a:cubicBezTo>
                <a:close/>
                <a:moveTo>
                  <a:pt x="4248" y="4127"/>
                </a:moveTo>
                <a:lnTo>
                  <a:pt x="3413" y="4127"/>
                </a:lnTo>
                <a:lnTo>
                  <a:pt x="3413" y="3520"/>
                </a:lnTo>
                <a:cubicBezTo>
                  <a:pt x="3595" y="3467"/>
                  <a:pt x="3858" y="3393"/>
                  <a:pt x="4127" y="3324"/>
                </a:cubicBezTo>
                <a:cubicBezTo>
                  <a:pt x="4189" y="3565"/>
                  <a:pt x="4236" y="3837"/>
                  <a:pt x="4248" y="4127"/>
                </a:cubicBezTo>
                <a:close/>
                <a:moveTo>
                  <a:pt x="3739" y="6201"/>
                </a:moveTo>
                <a:cubicBezTo>
                  <a:pt x="3633" y="6227"/>
                  <a:pt x="3524" y="6244"/>
                  <a:pt x="3413" y="6251"/>
                </a:cubicBezTo>
                <a:lnTo>
                  <a:pt x="3413" y="5531"/>
                </a:lnTo>
                <a:lnTo>
                  <a:pt x="4031" y="5531"/>
                </a:lnTo>
                <a:cubicBezTo>
                  <a:pt x="3918" y="5863"/>
                  <a:pt x="3793" y="6104"/>
                  <a:pt x="3739" y="6201"/>
                </a:cubicBezTo>
                <a:close/>
                <a:moveTo>
                  <a:pt x="3413" y="5247"/>
                </a:moveTo>
                <a:lnTo>
                  <a:pt x="3413" y="4411"/>
                </a:lnTo>
                <a:lnTo>
                  <a:pt x="4248" y="4411"/>
                </a:lnTo>
                <a:cubicBezTo>
                  <a:pt x="4235" y="4714"/>
                  <a:pt x="4184" y="4997"/>
                  <a:pt x="4117" y="5247"/>
                </a:cubicBezTo>
                <a:lnTo>
                  <a:pt x="3413" y="5247"/>
                </a:lnTo>
                <a:close/>
                <a:moveTo>
                  <a:pt x="4678" y="5674"/>
                </a:moveTo>
                <a:cubicBezTo>
                  <a:pt x="4515" y="5837"/>
                  <a:pt x="4328" y="5968"/>
                  <a:pt x="4126" y="6065"/>
                </a:cubicBezTo>
                <a:cubicBezTo>
                  <a:pt x="4164" y="5982"/>
                  <a:pt x="4205" y="5885"/>
                  <a:pt x="4246" y="5777"/>
                </a:cubicBezTo>
                <a:cubicBezTo>
                  <a:pt x="4274" y="5703"/>
                  <a:pt x="4303" y="5621"/>
                  <a:pt x="4331" y="5531"/>
                </a:cubicBezTo>
                <a:lnTo>
                  <a:pt x="4808" y="5531"/>
                </a:lnTo>
                <a:cubicBezTo>
                  <a:pt x="4767" y="5580"/>
                  <a:pt x="4724" y="5628"/>
                  <a:pt x="4678" y="5674"/>
                </a:cubicBezTo>
                <a:close/>
                <a:moveTo>
                  <a:pt x="5004" y="5247"/>
                </a:moveTo>
                <a:lnTo>
                  <a:pt x="4411" y="5247"/>
                </a:lnTo>
                <a:cubicBezTo>
                  <a:pt x="4472" y="4999"/>
                  <a:pt x="4521" y="4715"/>
                  <a:pt x="4532" y="4411"/>
                </a:cubicBezTo>
                <a:lnTo>
                  <a:pt x="5256" y="4411"/>
                </a:lnTo>
                <a:cubicBezTo>
                  <a:pt x="5235" y="4708"/>
                  <a:pt x="5148" y="4992"/>
                  <a:pt x="5004" y="5247"/>
                </a:cubicBezTo>
                <a:close/>
                <a:moveTo>
                  <a:pt x="5256" y="4127"/>
                </a:moveTo>
                <a:lnTo>
                  <a:pt x="4533" y="4127"/>
                </a:lnTo>
                <a:cubicBezTo>
                  <a:pt x="4521" y="3808"/>
                  <a:pt x="4468" y="3511"/>
                  <a:pt x="4403" y="3255"/>
                </a:cubicBezTo>
                <a:cubicBezTo>
                  <a:pt x="4594" y="3209"/>
                  <a:pt x="4776" y="3171"/>
                  <a:pt x="4918" y="3149"/>
                </a:cubicBezTo>
                <a:cubicBezTo>
                  <a:pt x="5116" y="3438"/>
                  <a:pt x="5232" y="3774"/>
                  <a:pt x="5256" y="4127"/>
                </a:cubicBezTo>
                <a:close/>
                <a:moveTo>
                  <a:pt x="3131" y="1139"/>
                </a:moveTo>
                <a:lnTo>
                  <a:pt x="5338" y="1139"/>
                </a:lnTo>
                <a:lnTo>
                  <a:pt x="3271" y="1702"/>
                </a:lnTo>
                <a:lnTo>
                  <a:pt x="683" y="997"/>
                </a:lnTo>
                <a:lnTo>
                  <a:pt x="3271" y="291"/>
                </a:lnTo>
                <a:lnTo>
                  <a:pt x="5338" y="855"/>
                </a:lnTo>
                <a:lnTo>
                  <a:pt x="3131" y="855"/>
                </a:lnTo>
                <a:cubicBezTo>
                  <a:pt x="3052" y="855"/>
                  <a:pt x="2988" y="918"/>
                  <a:pt x="2988" y="997"/>
                </a:cubicBezTo>
                <a:cubicBezTo>
                  <a:pt x="2988" y="1075"/>
                  <a:pt x="3052" y="1139"/>
                  <a:pt x="3131" y="1139"/>
                </a:cubicBezTo>
                <a:close/>
                <a:moveTo>
                  <a:pt x="6542" y="2703"/>
                </a:moveTo>
                <a:lnTo>
                  <a:pt x="6258" y="2703"/>
                </a:lnTo>
                <a:lnTo>
                  <a:pt x="6258" y="2177"/>
                </a:lnTo>
                <a:lnTo>
                  <a:pt x="6400" y="1964"/>
                </a:lnTo>
                <a:lnTo>
                  <a:pt x="6542" y="2177"/>
                </a:lnTo>
                <a:lnTo>
                  <a:pt x="6542" y="2703"/>
                </a:lnTo>
                <a:close/>
              </a:path>
            </a:pathLst>
          </a:custGeom>
          <a:solidFill>
            <a:schemeClr val="accent1"/>
          </a:solidFill>
          <a:ln>
            <a:noFill/>
          </a:ln>
        </p:spPr>
      </p:sp>
    </p:spTree>
    <p:extLst>
      <p:ext uri="{BB962C8B-B14F-4D97-AF65-F5344CB8AC3E}">
        <p14:creationId xmlns:p14="http://schemas.microsoft.com/office/powerpoint/2010/main" val="2259295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73366" y="2470792"/>
            <a:ext cx="5419185" cy="895350"/>
          </a:xfrm>
        </p:spPr>
        <p:txBody>
          <a:bodyPr/>
          <a:lstStyle/>
          <a:p>
            <a:r>
              <a:rPr lang="en-US" altLang="zh-CN" dirty="0"/>
              <a:t>Project Experience</a:t>
            </a:r>
            <a:endParaRPr lang="zh-CN" altLang="en-US" dirty="0"/>
          </a:p>
        </p:txBody>
      </p:sp>
      <p:sp>
        <p:nvSpPr>
          <p:cNvPr id="6" name="文本占位符 5"/>
          <p:cNvSpPr>
            <a:spLocks noGrp="1"/>
          </p:cNvSpPr>
          <p:nvPr>
            <p:ph type="body" idx="1"/>
          </p:nvPr>
        </p:nvSpPr>
        <p:spPr>
          <a:xfrm>
            <a:off x="5574482" y="3366142"/>
            <a:ext cx="5419185" cy="1015623"/>
          </a:xfrm>
        </p:spPr>
        <p:txBody>
          <a:bodyPr/>
          <a:lstStyle/>
          <a:p>
            <a:pPr lvl="0">
              <a:lnSpc>
                <a:spcPct val="100000"/>
              </a:lnSpc>
            </a:pPr>
            <a:r>
              <a:rPr lang="en-US" altLang="zh-CN" dirty="0"/>
              <a:t>What did I done before?</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2645466"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741707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87598-D4B2-4280-83B8-05E42402529B}"/>
              </a:ext>
            </a:extLst>
          </p:cNvPr>
          <p:cNvSpPr>
            <a:spLocks noGrp="1"/>
          </p:cNvSpPr>
          <p:nvPr>
            <p:ph type="title"/>
          </p:nvPr>
        </p:nvSpPr>
        <p:spPr/>
        <p:txBody>
          <a:bodyPr/>
          <a:lstStyle/>
          <a:p>
            <a:r>
              <a:rPr lang="en-US" dirty="0"/>
              <a:t>Past Experience</a:t>
            </a:r>
          </a:p>
        </p:txBody>
      </p:sp>
      <p:sp>
        <p:nvSpPr>
          <p:cNvPr id="4" name="Slide Number Placeholder 3">
            <a:extLst>
              <a:ext uri="{FF2B5EF4-FFF2-40B4-BE49-F238E27FC236}">
                <a16:creationId xmlns:a16="http://schemas.microsoft.com/office/drawing/2014/main" id="{77A178C0-A982-43FF-B01E-78560752BA9F}"/>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24676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3999D9A-1CEA-423E-B394-783D99533411}"/>
              </a:ext>
            </a:extLst>
          </p:cNvPr>
          <p:cNvGrpSpPr>
            <a:grpSpLocks noChangeAspect="1"/>
          </p:cNvGrpSpPr>
          <p:nvPr>
            <p:custDataLst>
              <p:tags r:id="rId1"/>
            </p:custDataLst>
          </p:nvPr>
        </p:nvGrpSpPr>
        <p:grpSpPr>
          <a:xfrm>
            <a:off x="624114" y="1269884"/>
            <a:ext cx="10702245" cy="4634310"/>
            <a:chOff x="673100" y="1329756"/>
            <a:chExt cx="10702243" cy="4634309"/>
          </a:xfrm>
        </p:grpSpPr>
        <p:grpSp>
          <p:nvGrpSpPr>
            <p:cNvPr id="6" name="îs1íḍe">
              <a:extLst>
                <a:ext uri="{FF2B5EF4-FFF2-40B4-BE49-F238E27FC236}">
                  <a16:creationId xmlns:a16="http://schemas.microsoft.com/office/drawing/2014/main" id="{C843E524-3897-4C41-BA8D-0A2C0CCFA159}"/>
                </a:ext>
              </a:extLst>
            </p:cNvPr>
            <p:cNvGrpSpPr/>
            <p:nvPr/>
          </p:nvGrpSpPr>
          <p:grpSpPr>
            <a:xfrm>
              <a:off x="5950856" y="1436914"/>
              <a:ext cx="5424487" cy="4527151"/>
              <a:chOff x="6929212" y="1771561"/>
              <a:chExt cx="4591276" cy="3831772"/>
            </a:xfrm>
          </p:grpSpPr>
          <p:sp>
            <p:nvSpPr>
              <p:cNvPr id="25" name="íṩ1ïdè">
                <a:extLst>
                  <a:ext uri="{FF2B5EF4-FFF2-40B4-BE49-F238E27FC236}">
                    <a16:creationId xmlns:a16="http://schemas.microsoft.com/office/drawing/2014/main" id="{EEB69321-32D5-4E8F-B3FC-15B413F5F5DF}"/>
                  </a:ext>
                </a:extLst>
              </p:cNvPr>
              <p:cNvSpPr/>
              <p:nvPr/>
            </p:nvSpPr>
            <p:spPr>
              <a:xfrm>
                <a:off x="7308964" y="1771561"/>
                <a:ext cx="3831772" cy="3831772"/>
              </a:xfrm>
              <a:prstGeom prst="ellipse">
                <a:avLst/>
              </a:prstGeom>
              <a:solidFill>
                <a:schemeClr val="bg1">
                  <a:lumMod val="95000"/>
                  <a:alpha val="4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26" name="ïṩľiḑ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4582617-3ECD-4B8F-868E-0E4AD9F7C64E}"/>
                  </a:ext>
                </a:extLst>
              </p:cNvPr>
              <p:cNvGrpSpPr>
                <a:grpSpLocks noChangeAspect="1"/>
              </p:cNvGrpSpPr>
              <p:nvPr/>
            </p:nvGrpSpPr>
            <p:grpSpPr>
              <a:xfrm>
                <a:off x="6929212" y="1958489"/>
                <a:ext cx="4591276" cy="3457916"/>
                <a:chOff x="3144838" y="1203326"/>
                <a:chExt cx="5922963" cy="4460875"/>
              </a:xfrm>
            </p:grpSpPr>
            <p:sp>
              <p:nvSpPr>
                <p:cNvPr id="27" name="iSľîdé">
                  <a:extLst>
                    <a:ext uri="{FF2B5EF4-FFF2-40B4-BE49-F238E27FC236}">
                      <a16:creationId xmlns:a16="http://schemas.microsoft.com/office/drawing/2014/main" id="{29F5FC9C-C67D-4531-BD29-408ABAD088BA}"/>
                    </a:ext>
                  </a:extLst>
                </p:cNvPr>
                <p:cNvSpPr/>
                <p:nvPr/>
              </p:nvSpPr>
              <p:spPr bwMode="auto">
                <a:xfrm>
                  <a:off x="5986463" y="2149476"/>
                  <a:ext cx="1412875" cy="1393825"/>
                </a:xfrm>
                <a:custGeom>
                  <a:avLst/>
                  <a:gdLst>
                    <a:gd name="T0" fmla="*/ 347 w 361"/>
                    <a:gd name="T1" fmla="*/ 106 h 356"/>
                    <a:gd name="T2" fmla="*/ 336 w 361"/>
                    <a:gd name="T3" fmla="*/ 87 h 356"/>
                    <a:gd name="T4" fmla="*/ 275 w 361"/>
                    <a:gd name="T5" fmla="*/ 85 h 356"/>
                    <a:gd name="T6" fmla="*/ 273 w 361"/>
                    <a:gd name="T7" fmla="*/ 25 h 356"/>
                    <a:gd name="T8" fmla="*/ 254 w 361"/>
                    <a:gd name="T9" fmla="*/ 14 h 356"/>
                    <a:gd name="T10" fmla="*/ 200 w 361"/>
                    <a:gd name="T11" fmla="*/ 0 h 356"/>
                    <a:gd name="T12" fmla="*/ 179 w 361"/>
                    <a:gd name="T13" fmla="*/ 0 h 356"/>
                    <a:gd name="T14" fmla="*/ 146 w 361"/>
                    <a:gd name="T15" fmla="*/ 51 h 356"/>
                    <a:gd name="T16" fmla="*/ 92 w 361"/>
                    <a:gd name="T17" fmla="*/ 23 h 356"/>
                    <a:gd name="T18" fmla="*/ 74 w 361"/>
                    <a:gd name="T19" fmla="*/ 34 h 356"/>
                    <a:gd name="T20" fmla="*/ 34 w 361"/>
                    <a:gd name="T21" fmla="*/ 72 h 356"/>
                    <a:gd name="T22" fmla="*/ 24 w 361"/>
                    <a:gd name="T23" fmla="*/ 91 h 356"/>
                    <a:gd name="T24" fmla="*/ 52 w 361"/>
                    <a:gd name="T25" fmla="*/ 144 h 356"/>
                    <a:gd name="T26" fmla="*/ 0 w 361"/>
                    <a:gd name="T27" fmla="*/ 176 h 356"/>
                    <a:gd name="T28" fmla="*/ 0 w 361"/>
                    <a:gd name="T29" fmla="*/ 197 h 356"/>
                    <a:gd name="T30" fmla="*/ 15 w 361"/>
                    <a:gd name="T31" fmla="*/ 250 h 356"/>
                    <a:gd name="T32" fmla="*/ 26 w 361"/>
                    <a:gd name="T33" fmla="*/ 269 h 356"/>
                    <a:gd name="T34" fmla="*/ 86 w 361"/>
                    <a:gd name="T35" fmla="*/ 271 h 356"/>
                    <a:gd name="T36" fmla="*/ 89 w 361"/>
                    <a:gd name="T37" fmla="*/ 331 h 356"/>
                    <a:gd name="T38" fmla="*/ 107 w 361"/>
                    <a:gd name="T39" fmla="*/ 342 h 356"/>
                    <a:gd name="T40" fmla="*/ 161 w 361"/>
                    <a:gd name="T41" fmla="*/ 356 h 356"/>
                    <a:gd name="T42" fmla="*/ 183 w 361"/>
                    <a:gd name="T43" fmla="*/ 356 h 356"/>
                    <a:gd name="T44" fmla="*/ 215 w 361"/>
                    <a:gd name="T45" fmla="*/ 305 h 356"/>
                    <a:gd name="T46" fmla="*/ 269 w 361"/>
                    <a:gd name="T47" fmla="*/ 333 h 356"/>
                    <a:gd name="T48" fmla="*/ 288 w 361"/>
                    <a:gd name="T49" fmla="*/ 323 h 356"/>
                    <a:gd name="T50" fmla="*/ 327 w 361"/>
                    <a:gd name="T51" fmla="*/ 284 h 356"/>
                    <a:gd name="T52" fmla="*/ 338 w 361"/>
                    <a:gd name="T53" fmla="*/ 265 h 356"/>
                    <a:gd name="T54" fmla="*/ 310 w 361"/>
                    <a:gd name="T55" fmla="*/ 212 h 356"/>
                    <a:gd name="T56" fmla="*/ 361 w 361"/>
                    <a:gd name="T57" fmla="*/ 180 h 356"/>
                    <a:gd name="T58" fmla="*/ 361 w 361"/>
                    <a:gd name="T59" fmla="*/ 159 h 356"/>
                    <a:gd name="T60" fmla="*/ 181 w 361"/>
                    <a:gd name="T61" fmla="*/ 274 h 356"/>
                    <a:gd name="T62" fmla="*/ 181 w 361"/>
                    <a:gd name="T63" fmla="*/ 82 h 356"/>
                    <a:gd name="T64" fmla="*/ 181 w 361"/>
                    <a:gd name="T65" fmla="*/ 274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356">
                      <a:moveTo>
                        <a:pt x="310" y="144"/>
                      </a:moveTo>
                      <a:cubicBezTo>
                        <a:pt x="321" y="132"/>
                        <a:pt x="347" y="106"/>
                        <a:pt x="347" y="106"/>
                      </a:cubicBezTo>
                      <a:cubicBezTo>
                        <a:pt x="338" y="91"/>
                        <a:pt x="338" y="91"/>
                        <a:pt x="338" y="91"/>
                      </a:cubicBezTo>
                      <a:cubicBezTo>
                        <a:pt x="336" y="87"/>
                        <a:pt x="336" y="87"/>
                        <a:pt x="336" y="87"/>
                      </a:cubicBezTo>
                      <a:cubicBezTo>
                        <a:pt x="327" y="72"/>
                        <a:pt x="327" y="72"/>
                        <a:pt x="327" y="72"/>
                      </a:cubicBezTo>
                      <a:cubicBezTo>
                        <a:pt x="327" y="72"/>
                        <a:pt x="292" y="81"/>
                        <a:pt x="275" y="85"/>
                      </a:cubicBezTo>
                      <a:cubicBezTo>
                        <a:pt x="279" y="69"/>
                        <a:pt x="288" y="34"/>
                        <a:pt x="288" y="34"/>
                      </a:cubicBezTo>
                      <a:cubicBezTo>
                        <a:pt x="273" y="25"/>
                        <a:pt x="273" y="25"/>
                        <a:pt x="273" y="25"/>
                      </a:cubicBezTo>
                      <a:cubicBezTo>
                        <a:pt x="269" y="23"/>
                        <a:pt x="269" y="23"/>
                        <a:pt x="269" y="23"/>
                      </a:cubicBezTo>
                      <a:cubicBezTo>
                        <a:pt x="254" y="14"/>
                        <a:pt x="254" y="14"/>
                        <a:pt x="254" y="14"/>
                      </a:cubicBezTo>
                      <a:cubicBezTo>
                        <a:pt x="254" y="14"/>
                        <a:pt x="228" y="39"/>
                        <a:pt x="215" y="51"/>
                      </a:cubicBezTo>
                      <a:cubicBezTo>
                        <a:pt x="210" y="35"/>
                        <a:pt x="200" y="0"/>
                        <a:pt x="200" y="0"/>
                      </a:cubicBezTo>
                      <a:cubicBezTo>
                        <a:pt x="183" y="0"/>
                        <a:pt x="183" y="0"/>
                        <a:pt x="183" y="0"/>
                      </a:cubicBezTo>
                      <a:cubicBezTo>
                        <a:pt x="179" y="0"/>
                        <a:pt x="179" y="0"/>
                        <a:pt x="179" y="0"/>
                      </a:cubicBezTo>
                      <a:cubicBezTo>
                        <a:pt x="161" y="0"/>
                        <a:pt x="161" y="0"/>
                        <a:pt x="161" y="0"/>
                      </a:cubicBezTo>
                      <a:cubicBezTo>
                        <a:pt x="161" y="0"/>
                        <a:pt x="151" y="35"/>
                        <a:pt x="146" y="51"/>
                      </a:cubicBezTo>
                      <a:cubicBezTo>
                        <a:pt x="134" y="39"/>
                        <a:pt x="107" y="14"/>
                        <a:pt x="107" y="14"/>
                      </a:cubicBezTo>
                      <a:cubicBezTo>
                        <a:pt x="92" y="23"/>
                        <a:pt x="92" y="23"/>
                        <a:pt x="92" y="23"/>
                      </a:cubicBezTo>
                      <a:cubicBezTo>
                        <a:pt x="89" y="25"/>
                        <a:pt x="89" y="25"/>
                        <a:pt x="89" y="25"/>
                      </a:cubicBezTo>
                      <a:cubicBezTo>
                        <a:pt x="74" y="34"/>
                        <a:pt x="74" y="34"/>
                        <a:pt x="74" y="34"/>
                      </a:cubicBezTo>
                      <a:cubicBezTo>
                        <a:pt x="74" y="34"/>
                        <a:pt x="83" y="69"/>
                        <a:pt x="86" y="85"/>
                      </a:cubicBezTo>
                      <a:cubicBezTo>
                        <a:pt x="70" y="81"/>
                        <a:pt x="34" y="72"/>
                        <a:pt x="34" y="72"/>
                      </a:cubicBezTo>
                      <a:cubicBezTo>
                        <a:pt x="26" y="87"/>
                        <a:pt x="26" y="87"/>
                        <a:pt x="26" y="87"/>
                      </a:cubicBezTo>
                      <a:cubicBezTo>
                        <a:pt x="24" y="91"/>
                        <a:pt x="24" y="91"/>
                        <a:pt x="24" y="91"/>
                      </a:cubicBezTo>
                      <a:cubicBezTo>
                        <a:pt x="15" y="106"/>
                        <a:pt x="15" y="106"/>
                        <a:pt x="15" y="106"/>
                      </a:cubicBezTo>
                      <a:cubicBezTo>
                        <a:pt x="15" y="106"/>
                        <a:pt x="40" y="132"/>
                        <a:pt x="52" y="144"/>
                      </a:cubicBezTo>
                      <a:cubicBezTo>
                        <a:pt x="36" y="149"/>
                        <a:pt x="0" y="159"/>
                        <a:pt x="0" y="159"/>
                      </a:cubicBezTo>
                      <a:cubicBezTo>
                        <a:pt x="0" y="176"/>
                        <a:pt x="0" y="176"/>
                        <a:pt x="0" y="176"/>
                      </a:cubicBezTo>
                      <a:cubicBezTo>
                        <a:pt x="0" y="180"/>
                        <a:pt x="0" y="180"/>
                        <a:pt x="0" y="180"/>
                      </a:cubicBezTo>
                      <a:cubicBezTo>
                        <a:pt x="0" y="197"/>
                        <a:pt x="0" y="197"/>
                        <a:pt x="0" y="197"/>
                      </a:cubicBezTo>
                      <a:cubicBezTo>
                        <a:pt x="0" y="197"/>
                        <a:pt x="36" y="207"/>
                        <a:pt x="52" y="212"/>
                      </a:cubicBezTo>
                      <a:cubicBezTo>
                        <a:pt x="40" y="225"/>
                        <a:pt x="15" y="250"/>
                        <a:pt x="15" y="250"/>
                      </a:cubicBezTo>
                      <a:cubicBezTo>
                        <a:pt x="24" y="265"/>
                        <a:pt x="24" y="265"/>
                        <a:pt x="24" y="265"/>
                      </a:cubicBezTo>
                      <a:cubicBezTo>
                        <a:pt x="26" y="269"/>
                        <a:pt x="26" y="269"/>
                        <a:pt x="26" y="269"/>
                      </a:cubicBezTo>
                      <a:cubicBezTo>
                        <a:pt x="34" y="284"/>
                        <a:pt x="34" y="284"/>
                        <a:pt x="34" y="284"/>
                      </a:cubicBezTo>
                      <a:cubicBezTo>
                        <a:pt x="34" y="284"/>
                        <a:pt x="70" y="275"/>
                        <a:pt x="86" y="271"/>
                      </a:cubicBezTo>
                      <a:cubicBezTo>
                        <a:pt x="83" y="288"/>
                        <a:pt x="74" y="323"/>
                        <a:pt x="74" y="323"/>
                      </a:cubicBezTo>
                      <a:cubicBezTo>
                        <a:pt x="89" y="331"/>
                        <a:pt x="89" y="331"/>
                        <a:pt x="89" y="331"/>
                      </a:cubicBezTo>
                      <a:cubicBezTo>
                        <a:pt x="92" y="333"/>
                        <a:pt x="92" y="333"/>
                        <a:pt x="92" y="333"/>
                      </a:cubicBezTo>
                      <a:cubicBezTo>
                        <a:pt x="107" y="342"/>
                        <a:pt x="107" y="342"/>
                        <a:pt x="107" y="342"/>
                      </a:cubicBezTo>
                      <a:cubicBezTo>
                        <a:pt x="107" y="342"/>
                        <a:pt x="134" y="317"/>
                        <a:pt x="146" y="305"/>
                      </a:cubicBezTo>
                      <a:cubicBezTo>
                        <a:pt x="151" y="321"/>
                        <a:pt x="161" y="356"/>
                        <a:pt x="161" y="356"/>
                      </a:cubicBezTo>
                      <a:cubicBezTo>
                        <a:pt x="179" y="356"/>
                        <a:pt x="179" y="356"/>
                        <a:pt x="179" y="356"/>
                      </a:cubicBezTo>
                      <a:cubicBezTo>
                        <a:pt x="183" y="356"/>
                        <a:pt x="183" y="356"/>
                        <a:pt x="183" y="356"/>
                      </a:cubicBezTo>
                      <a:cubicBezTo>
                        <a:pt x="200" y="356"/>
                        <a:pt x="200" y="356"/>
                        <a:pt x="200" y="356"/>
                      </a:cubicBezTo>
                      <a:cubicBezTo>
                        <a:pt x="200" y="356"/>
                        <a:pt x="210" y="321"/>
                        <a:pt x="215" y="305"/>
                      </a:cubicBezTo>
                      <a:cubicBezTo>
                        <a:pt x="228" y="317"/>
                        <a:pt x="254" y="342"/>
                        <a:pt x="254" y="342"/>
                      </a:cubicBezTo>
                      <a:cubicBezTo>
                        <a:pt x="269" y="333"/>
                        <a:pt x="269" y="333"/>
                        <a:pt x="269" y="333"/>
                      </a:cubicBezTo>
                      <a:cubicBezTo>
                        <a:pt x="273" y="331"/>
                        <a:pt x="273" y="331"/>
                        <a:pt x="273" y="331"/>
                      </a:cubicBezTo>
                      <a:cubicBezTo>
                        <a:pt x="288" y="323"/>
                        <a:pt x="288" y="323"/>
                        <a:pt x="288" y="323"/>
                      </a:cubicBezTo>
                      <a:cubicBezTo>
                        <a:pt x="288" y="323"/>
                        <a:pt x="279" y="288"/>
                        <a:pt x="275" y="271"/>
                      </a:cubicBezTo>
                      <a:cubicBezTo>
                        <a:pt x="292" y="275"/>
                        <a:pt x="327" y="284"/>
                        <a:pt x="327" y="284"/>
                      </a:cubicBezTo>
                      <a:cubicBezTo>
                        <a:pt x="336" y="269"/>
                        <a:pt x="336" y="269"/>
                        <a:pt x="336" y="269"/>
                      </a:cubicBezTo>
                      <a:cubicBezTo>
                        <a:pt x="338" y="265"/>
                        <a:pt x="338" y="265"/>
                        <a:pt x="338" y="265"/>
                      </a:cubicBezTo>
                      <a:cubicBezTo>
                        <a:pt x="347" y="250"/>
                        <a:pt x="347" y="250"/>
                        <a:pt x="347" y="250"/>
                      </a:cubicBezTo>
                      <a:cubicBezTo>
                        <a:pt x="347" y="250"/>
                        <a:pt x="321" y="225"/>
                        <a:pt x="310" y="212"/>
                      </a:cubicBezTo>
                      <a:cubicBezTo>
                        <a:pt x="326" y="207"/>
                        <a:pt x="361" y="197"/>
                        <a:pt x="361" y="197"/>
                      </a:cubicBezTo>
                      <a:cubicBezTo>
                        <a:pt x="361" y="180"/>
                        <a:pt x="361" y="180"/>
                        <a:pt x="361" y="180"/>
                      </a:cubicBezTo>
                      <a:cubicBezTo>
                        <a:pt x="361" y="176"/>
                        <a:pt x="361" y="176"/>
                        <a:pt x="361" y="176"/>
                      </a:cubicBezTo>
                      <a:cubicBezTo>
                        <a:pt x="361" y="159"/>
                        <a:pt x="361" y="159"/>
                        <a:pt x="361" y="159"/>
                      </a:cubicBezTo>
                      <a:cubicBezTo>
                        <a:pt x="361" y="159"/>
                        <a:pt x="326" y="149"/>
                        <a:pt x="310" y="144"/>
                      </a:cubicBezTo>
                      <a:moveTo>
                        <a:pt x="181" y="274"/>
                      </a:moveTo>
                      <a:cubicBezTo>
                        <a:pt x="128" y="274"/>
                        <a:pt x="85" y="231"/>
                        <a:pt x="85" y="178"/>
                      </a:cubicBezTo>
                      <a:cubicBezTo>
                        <a:pt x="85" y="125"/>
                        <a:pt x="128" y="82"/>
                        <a:pt x="181" y="82"/>
                      </a:cubicBezTo>
                      <a:cubicBezTo>
                        <a:pt x="234" y="82"/>
                        <a:pt x="277" y="125"/>
                        <a:pt x="277" y="178"/>
                      </a:cubicBezTo>
                      <a:cubicBezTo>
                        <a:pt x="277" y="231"/>
                        <a:pt x="234" y="274"/>
                        <a:pt x="181" y="274"/>
                      </a:cubicBezTo>
                    </a:path>
                  </a:pathLst>
                </a:custGeom>
                <a:solidFill>
                  <a:schemeClr val="bg1">
                    <a:lumMod val="85000"/>
                  </a:schemeClr>
                </a:solidFill>
                <a:ln>
                  <a:noFill/>
                </a:ln>
              </p:spPr>
              <p:txBody>
                <a:bodyPr wrap="square" lIns="91440" tIns="45720" rIns="91440" bIns="45720" anchor="ctr">
                  <a:normAutofit/>
                </a:bodyPr>
                <a:lstStyle/>
                <a:p>
                  <a:pPr algn="ctr"/>
                  <a:endParaRPr/>
                </a:p>
              </p:txBody>
            </p:sp>
            <p:sp>
              <p:nvSpPr>
                <p:cNvPr id="28" name="ïśļiḑé">
                  <a:extLst>
                    <a:ext uri="{FF2B5EF4-FFF2-40B4-BE49-F238E27FC236}">
                      <a16:creationId xmlns:a16="http://schemas.microsoft.com/office/drawing/2014/main" id="{128156F0-E00C-45BD-B1EC-53DA8CE00F5E}"/>
                    </a:ext>
                  </a:extLst>
                </p:cNvPr>
                <p:cNvSpPr/>
                <p:nvPr/>
              </p:nvSpPr>
              <p:spPr bwMode="auto">
                <a:xfrm>
                  <a:off x="5794376" y="1203326"/>
                  <a:ext cx="900113" cy="887413"/>
                </a:xfrm>
                <a:custGeom>
                  <a:avLst/>
                  <a:gdLst>
                    <a:gd name="T0" fmla="*/ 221 w 230"/>
                    <a:gd name="T1" fmla="*/ 68 h 227"/>
                    <a:gd name="T2" fmla="*/ 214 w 230"/>
                    <a:gd name="T3" fmla="*/ 56 h 227"/>
                    <a:gd name="T4" fmla="*/ 175 w 230"/>
                    <a:gd name="T5" fmla="*/ 55 h 227"/>
                    <a:gd name="T6" fmla="*/ 173 w 230"/>
                    <a:gd name="T7" fmla="*/ 16 h 227"/>
                    <a:gd name="T8" fmla="*/ 161 w 230"/>
                    <a:gd name="T9" fmla="*/ 10 h 227"/>
                    <a:gd name="T10" fmla="*/ 127 w 230"/>
                    <a:gd name="T11" fmla="*/ 0 h 227"/>
                    <a:gd name="T12" fmla="*/ 114 w 230"/>
                    <a:gd name="T13" fmla="*/ 0 h 227"/>
                    <a:gd name="T14" fmla="*/ 93 w 230"/>
                    <a:gd name="T15" fmla="*/ 33 h 227"/>
                    <a:gd name="T16" fmla="*/ 58 w 230"/>
                    <a:gd name="T17" fmla="*/ 15 h 227"/>
                    <a:gd name="T18" fmla="*/ 46 w 230"/>
                    <a:gd name="T19" fmla="*/ 22 h 227"/>
                    <a:gd name="T20" fmla="*/ 21 w 230"/>
                    <a:gd name="T21" fmla="*/ 47 h 227"/>
                    <a:gd name="T22" fmla="*/ 15 w 230"/>
                    <a:gd name="T23" fmla="*/ 58 h 227"/>
                    <a:gd name="T24" fmla="*/ 33 w 230"/>
                    <a:gd name="T25" fmla="*/ 92 h 227"/>
                    <a:gd name="T26" fmla="*/ 0 w 230"/>
                    <a:gd name="T27" fmla="*/ 113 h 227"/>
                    <a:gd name="T28" fmla="*/ 0 w 230"/>
                    <a:gd name="T29" fmla="*/ 126 h 227"/>
                    <a:gd name="T30" fmla="*/ 9 w 230"/>
                    <a:gd name="T31" fmla="*/ 160 h 227"/>
                    <a:gd name="T32" fmla="*/ 16 w 230"/>
                    <a:gd name="T33" fmla="*/ 172 h 227"/>
                    <a:gd name="T34" fmla="*/ 55 w 230"/>
                    <a:gd name="T35" fmla="*/ 173 h 227"/>
                    <a:gd name="T36" fmla="*/ 56 w 230"/>
                    <a:gd name="T37" fmla="*/ 212 h 227"/>
                    <a:gd name="T38" fmla="*/ 68 w 230"/>
                    <a:gd name="T39" fmla="*/ 218 h 227"/>
                    <a:gd name="T40" fmla="*/ 102 w 230"/>
                    <a:gd name="T41" fmla="*/ 227 h 227"/>
                    <a:gd name="T42" fmla="*/ 116 w 230"/>
                    <a:gd name="T43" fmla="*/ 227 h 227"/>
                    <a:gd name="T44" fmla="*/ 137 w 230"/>
                    <a:gd name="T45" fmla="*/ 195 h 227"/>
                    <a:gd name="T46" fmla="*/ 171 w 230"/>
                    <a:gd name="T47" fmla="*/ 213 h 227"/>
                    <a:gd name="T48" fmla="*/ 183 w 230"/>
                    <a:gd name="T49" fmla="*/ 206 h 227"/>
                    <a:gd name="T50" fmla="*/ 208 w 230"/>
                    <a:gd name="T51" fmla="*/ 181 h 227"/>
                    <a:gd name="T52" fmla="*/ 215 w 230"/>
                    <a:gd name="T53" fmla="*/ 170 h 227"/>
                    <a:gd name="T54" fmla="*/ 197 w 230"/>
                    <a:gd name="T55" fmla="*/ 136 h 227"/>
                    <a:gd name="T56" fmla="*/ 230 w 230"/>
                    <a:gd name="T57" fmla="*/ 115 h 227"/>
                    <a:gd name="T58" fmla="*/ 230 w 230"/>
                    <a:gd name="T59" fmla="*/ 102 h 227"/>
                    <a:gd name="T60" fmla="*/ 115 w 230"/>
                    <a:gd name="T61" fmla="*/ 175 h 227"/>
                    <a:gd name="T62" fmla="*/ 115 w 230"/>
                    <a:gd name="T63" fmla="*/ 53 h 227"/>
                    <a:gd name="T64" fmla="*/ 115 w 230"/>
                    <a:gd name="T65" fmla="*/ 17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27">
                      <a:moveTo>
                        <a:pt x="197" y="92"/>
                      </a:moveTo>
                      <a:cubicBezTo>
                        <a:pt x="204" y="84"/>
                        <a:pt x="221" y="68"/>
                        <a:pt x="221" y="68"/>
                      </a:cubicBezTo>
                      <a:cubicBezTo>
                        <a:pt x="215" y="58"/>
                        <a:pt x="215" y="58"/>
                        <a:pt x="215" y="58"/>
                      </a:cubicBezTo>
                      <a:cubicBezTo>
                        <a:pt x="214" y="56"/>
                        <a:pt x="214" y="56"/>
                        <a:pt x="214" y="56"/>
                      </a:cubicBezTo>
                      <a:cubicBezTo>
                        <a:pt x="208" y="47"/>
                        <a:pt x="208" y="47"/>
                        <a:pt x="208" y="47"/>
                      </a:cubicBezTo>
                      <a:cubicBezTo>
                        <a:pt x="208" y="47"/>
                        <a:pt x="186" y="52"/>
                        <a:pt x="175" y="55"/>
                      </a:cubicBezTo>
                      <a:cubicBezTo>
                        <a:pt x="177" y="44"/>
                        <a:pt x="183" y="22"/>
                        <a:pt x="183" y="22"/>
                      </a:cubicBezTo>
                      <a:cubicBezTo>
                        <a:pt x="173" y="16"/>
                        <a:pt x="173" y="16"/>
                        <a:pt x="173" y="16"/>
                      </a:cubicBezTo>
                      <a:cubicBezTo>
                        <a:pt x="171" y="15"/>
                        <a:pt x="171" y="15"/>
                        <a:pt x="171" y="15"/>
                      </a:cubicBezTo>
                      <a:cubicBezTo>
                        <a:pt x="161" y="10"/>
                        <a:pt x="161" y="10"/>
                        <a:pt x="161" y="10"/>
                      </a:cubicBezTo>
                      <a:cubicBezTo>
                        <a:pt x="161" y="10"/>
                        <a:pt x="145" y="26"/>
                        <a:pt x="137" y="33"/>
                      </a:cubicBezTo>
                      <a:cubicBezTo>
                        <a:pt x="134" y="23"/>
                        <a:pt x="127" y="0"/>
                        <a:pt x="127" y="0"/>
                      </a:cubicBezTo>
                      <a:cubicBezTo>
                        <a:pt x="116" y="0"/>
                        <a:pt x="116" y="0"/>
                        <a:pt x="116" y="0"/>
                      </a:cubicBezTo>
                      <a:cubicBezTo>
                        <a:pt x="114" y="0"/>
                        <a:pt x="114" y="0"/>
                        <a:pt x="114" y="0"/>
                      </a:cubicBezTo>
                      <a:cubicBezTo>
                        <a:pt x="102" y="0"/>
                        <a:pt x="102" y="0"/>
                        <a:pt x="102" y="0"/>
                      </a:cubicBezTo>
                      <a:cubicBezTo>
                        <a:pt x="102" y="0"/>
                        <a:pt x="96" y="23"/>
                        <a:pt x="93" y="33"/>
                      </a:cubicBezTo>
                      <a:cubicBezTo>
                        <a:pt x="85" y="26"/>
                        <a:pt x="68" y="10"/>
                        <a:pt x="68" y="10"/>
                      </a:cubicBezTo>
                      <a:cubicBezTo>
                        <a:pt x="58" y="15"/>
                        <a:pt x="58" y="15"/>
                        <a:pt x="58" y="15"/>
                      </a:cubicBezTo>
                      <a:cubicBezTo>
                        <a:pt x="56" y="16"/>
                        <a:pt x="56" y="16"/>
                        <a:pt x="56" y="16"/>
                      </a:cubicBezTo>
                      <a:cubicBezTo>
                        <a:pt x="46" y="22"/>
                        <a:pt x="46" y="22"/>
                        <a:pt x="46" y="22"/>
                      </a:cubicBezTo>
                      <a:cubicBezTo>
                        <a:pt x="46" y="22"/>
                        <a:pt x="52" y="44"/>
                        <a:pt x="55" y="55"/>
                      </a:cubicBezTo>
                      <a:cubicBezTo>
                        <a:pt x="44" y="52"/>
                        <a:pt x="21" y="47"/>
                        <a:pt x="21" y="47"/>
                      </a:cubicBezTo>
                      <a:cubicBezTo>
                        <a:pt x="16" y="56"/>
                        <a:pt x="16" y="56"/>
                        <a:pt x="16" y="56"/>
                      </a:cubicBezTo>
                      <a:cubicBezTo>
                        <a:pt x="15" y="58"/>
                        <a:pt x="15" y="58"/>
                        <a:pt x="15" y="58"/>
                      </a:cubicBezTo>
                      <a:cubicBezTo>
                        <a:pt x="9" y="68"/>
                        <a:pt x="9" y="68"/>
                        <a:pt x="9" y="68"/>
                      </a:cubicBezTo>
                      <a:cubicBezTo>
                        <a:pt x="9" y="68"/>
                        <a:pt x="25" y="84"/>
                        <a:pt x="33" y="92"/>
                      </a:cubicBezTo>
                      <a:cubicBezTo>
                        <a:pt x="22" y="95"/>
                        <a:pt x="0" y="102"/>
                        <a:pt x="0" y="102"/>
                      </a:cubicBezTo>
                      <a:cubicBezTo>
                        <a:pt x="0" y="113"/>
                        <a:pt x="0" y="113"/>
                        <a:pt x="0" y="113"/>
                      </a:cubicBezTo>
                      <a:cubicBezTo>
                        <a:pt x="0" y="115"/>
                        <a:pt x="0" y="115"/>
                        <a:pt x="0" y="115"/>
                      </a:cubicBezTo>
                      <a:cubicBezTo>
                        <a:pt x="0" y="126"/>
                        <a:pt x="0" y="126"/>
                        <a:pt x="0" y="126"/>
                      </a:cubicBezTo>
                      <a:cubicBezTo>
                        <a:pt x="0" y="126"/>
                        <a:pt x="22" y="133"/>
                        <a:pt x="33" y="136"/>
                      </a:cubicBezTo>
                      <a:cubicBezTo>
                        <a:pt x="25" y="144"/>
                        <a:pt x="9" y="160"/>
                        <a:pt x="9" y="160"/>
                      </a:cubicBezTo>
                      <a:cubicBezTo>
                        <a:pt x="15" y="170"/>
                        <a:pt x="15" y="170"/>
                        <a:pt x="15" y="170"/>
                      </a:cubicBezTo>
                      <a:cubicBezTo>
                        <a:pt x="16" y="172"/>
                        <a:pt x="16" y="172"/>
                        <a:pt x="16" y="172"/>
                      </a:cubicBezTo>
                      <a:cubicBezTo>
                        <a:pt x="21" y="181"/>
                        <a:pt x="21" y="181"/>
                        <a:pt x="21" y="181"/>
                      </a:cubicBezTo>
                      <a:cubicBezTo>
                        <a:pt x="21" y="181"/>
                        <a:pt x="44" y="176"/>
                        <a:pt x="55" y="173"/>
                      </a:cubicBezTo>
                      <a:cubicBezTo>
                        <a:pt x="52" y="184"/>
                        <a:pt x="46" y="206"/>
                        <a:pt x="46" y="206"/>
                      </a:cubicBezTo>
                      <a:cubicBezTo>
                        <a:pt x="56" y="212"/>
                        <a:pt x="56" y="212"/>
                        <a:pt x="56" y="212"/>
                      </a:cubicBezTo>
                      <a:cubicBezTo>
                        <a:pt x="58" y="213"/>
                        <a:pt x="58" y="213"/>
                        <a:pt x="58" y="213"/>
                      </a:cubicBezTo>
                      <a:cubicBezTo>
                        <a:pt x="68" y="218"/>
                        <a:pt x="68" y="218"/>
                        <a:pt x="68" y="218"/>
                      </a:cubicBezTo>
                      <a:cubicBezTo>
                        <a:pt x="68" y="218"/>
                        <a:pt x="85" y="202"/>
                        <a:pt x="93" y="195"/>
                      </a:cubicBezTo>
                      <a:cubicBezTo>
                        <a:pt x="96" y="205"/>
                        <a:pt x="102" y="227"/>
                        <a:pt x="102" y="227"/>
                      </a:cubicBezTo>
                      <a:cubicBezTo>
                        <a:pt x="114" y="227"/>
                        <a:pt x="114" y="227"/>
                        <a:pt x="114" y="227"/>
                      </a:cubicBezTo>
                      <a:cubicBezTo>
                        <a:pt x="116" y="227"/>
                        <a:pt x="116" y="227"/>
                        <a:pt x="116" y="227"/>
                      </a:cubicBezTo>
                      <a:cubicBezTo>
                        <a:pt x="127" y="227"/>
                        <a:pt x="127" y="227"/>
                        <a:pt x="127" y="227"/>
                      </a:cubicBezTo>
                      <a:cubicBezTo>
                        <a:pt x="127" y="227"/>
                        <a:pt x="134" y="205"/>
                        <a:pt x="137" y="195"/>
                      </a:cubicBezTo>
                      <a:cubicBezTo>
                        <a:pt x="145" y="202"/>
                        <a:pt x="161" y="218"/>
                        <a:pt x="161" y="218"/>
                      </a:cubicBezTo>
                      <a:cubicBezTo>
                        <a:pt x="171" y="213"/>
                        <a:pt x="171" y="213"/>
                        <a:pt x="171" y="213"/>
                      </a:cubicBezTo>
                      <a:cubicBezTo>
                        <a:pt x="173" y="212"/>
                        <a:pt x="173" y="212"/>
                        <a:pt x="173" y="212"/>
                      </a:cubicBezTo>
                      <a:cubicBezTo>
                        <a:pt x="183" y="206"/>
                        <a:pt x="183" y="206"/>
                        <a:pt x="183" y="206"/>
                      </a:cubicBezTo>
                      <a:cubicBezTo>
                        <a:pt x="183" y="206"/>
                        <a:pt x="177" y="184"/>
                        <a:pt x="175" y="173"/>
                      </a:cubicBezTo>
                      <a:cubicBezTo>
                        <a:pt x="186" y="176"/>
                        <a:pt x="208" y="181"/>
                        <a:pt x="208" y="181"/>
                      </a:cubicBezTo>
                      <a:cubicBezTo>
                        <a:pt x="214" y="172"/>
                        <a:pt x="214" y="172"/>
                        <a:pt x="214" y="172"/>
                      </a:cubicBezTo>
                      <a:cubicBezTo>
                        <a:pt x="215" y="170"/>
                        <a:pt x="215" y="170"/>
                        <a:pt x="215" y="170"/>
                      </a:cubicBezTo>
                      <a:cubicBezTo>
                        <a:pt x="221" y="160"/>
                        <a:pt x="221" y="160"/>
                        <a:pt x="221" y="160"/>
                      </a:cubicBezTo>
                      <a:cubicBezTo>
                        <a:pt x="221" y="160"/>
                        <a:pt x="204" y="144"/>
                        <a:pt x="197" y="136"/>
                      </a:cubicBezTo>
                      <a:cubicBezTo>
                        <a:pt x="207" y="133"/>
                        <a:pt x="230" y="126"/>
                        <a:pt x="230" y="126"/>
                      </a:cubicBezTo>
                      <a:cubicBezTo>
                        <a:pt x="230" y="115"/>
                        <a:pt x="230" y="115"/>
                        <a:pt x="230" y="115"/>
                      </a:cubicBezTo>
                      <a:cubicBezTo>
                        <a:pt x="230" y="113"/>
                        <a:pt x="230" y="113"/>
                        <a:pt x="230" y="113"/>
                      </a:cubicBezTo>
                      <a:cubicBezTo>
                        <a:pt x="230" y="102"/>
                        <a:pt x="230" y="102"/>
                        <a:pt x="230" y="102"/>
                      </a:cubicBezTo>
                      <a:cubicBezTo>
                        <a:pt x="230" y="102"/>
                        <a:pt x="207" y="95"/>
                        <a:pt x="197" y="92"/>
                      </a:cubicBezTo>
                      <a:close/>
                      <a:moveTo>
                        <a:pt x="115" y="175"/>
                      </a:moveTo>
                      <a:cubicBezTo>
                        <a:pt x="81" y="175"/>
                        <a:pt x="54" y="148"/>
                        <a:pt x="54" y="114"/>
                      </a:cubicBezTo>
                      <a:cubicBezTo>
                        <a:pt x="54" y="80"/>
                        <a:pt x="81" y="53"/>
                        <a:pt x="115" y="53"/>
                      </a:cubicBezTo>
                      <a:cubicBezTo>
                        <a:pt x="149" y="53"/>
                        <a:pt x="176" y="80"/>
                        <a:pt x="176" y="114"/>
                      </a:cubicBezTo>
                      <a:cubicBezTo>
                        <a:pt x="176" y="148"/>
                        <a:pt x="149" y="175"/>
                        <a:pt x="115" y="175"/>
                      </a:cubicBezTo>
                      <a:close/>
                    </a:path>
                  </a:pathLst>
                </a:custGeom>
                <a:solidFill>
                  <a:srgbClr val="55B6F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9" name="ï$lîdè">
                  <a:extLst>
                    <a:ext uri="{FF2B5EF4-FFF2-40B4-BE49-F238E27FC236}">
                      <a16:creationId xmlns:a16="http://schemas.microsoft.com/office/drawing/2014/main" id="{5292A951-067C-4EF7-BB96-0731E83D8D4D}"/>
                    </a:ext>
                  </a:extLst>
                </p:cNvPr>
                <p:cNvSpPr/>
                <p:nvPr/>
              </p:nvSpPr>
              <p:spPr bwMode="auto">
                <a:xfrm>
                  <a:off x="4075113" y="1585913"/>
                  <a:ext cx="1911350" cy="1909763"/>
                </a:xfrm>
                <a:custGeom>
                  <a:avLst/>
                  <a:gdLst>
                    <a:gd name="T0" fmla="*/ 469 w 488"/>
                    <a:gd name="T1" fmla="*/ 145 h 488"/>
                    <a:gd name="T2" fmla="*/ 454 w 488"/>
                    <a:gd name="T3" fmla="*/ 119 h 488"/>
                    <a:gd name="T4" fmla="*/ 372 w 488"/>
                    <a:gd name="T5" fmla="*/ 116 h 488"/>
                    <a:gd name="T6" fmla="*/ 369 w 488"/>
                    <a:gd name="T7" fmla="*/ 34 h 488"/>
                    <a:gd name="T8" fmla="*/ 343 w 488"/>
                    <a:gd name="T9" fmla="*/ 19 h 488"/>
                    <a:gd name="T10" fmla="*/ 271 w 488"/>
                    <a:gd name="T11" fmla="*/ 0 h 488"/>
                    <a:gd name="T12" fmla="*/ 242 w 488"/>
                    <a:gd name="T13" fmla="*/ 0 h 488"/>
                    <a:gd name="T14" fmla="*/ 197 w 488"/>
                    <a:gd name="T15" fmla="*/ 69 h 488"/>
                    <a:gd name="T16" fmla="*/ 124 w 488"/>
                    <a:gd name="T17" fmla="*/ 31 h 488"/>
                    <a:gd name="T18" fmla="*/ 99 w 488"/>
                    <a:gd name="T19" fmla="*/ 45 h 488"/>
                    <a:gd name="T20" fmla="*/ 46 w 488"/>
                    <a:gd name="T21" fmla="*/ 99 h 488"/>
                    <a:gd name="T22" fmla="*/ 31 w 488"/>
                    <a:gd name="T23" fmla="*/ 124 h 488"/>
                    <a:gd name="T24" fmla="*/ 70 w 488"/>
                    <a:gd name="T25" fmla="*/ 197 h 488"/>
                    <a:gd name="T26" fmla="*/ 0 w 488"/>
                    <a:gd name="T27" fmla="*/ 241 h 488"/>
                    <a:gd name="T28" fmla="*/ 0 w 488"/>
                    <a:gd name="T29" fmla="*/ 270 h 488"/>
                    <a:gd name="T30" fmla="*/ 20 w 488"/>
                    <a:gd name="T31" fmla="*/ 343 h 488"/>
                    <a:gd name="T32" fmla="*/ 34 w 488"/>
                    <a:gd name="T33" fmla="*/ 368 h 488"/>
                    <a:gd name="T34" fmla="*/ 116 w 488"/>
                    <a:gd name="T35" fmla="*/ 372 h 488"/>
                    <a:gd name="T36" fmla="*/ 120 w 488"/>
                    <a:gd name="T37" fmla="*/ 454 h 488"/>
                    <a:gd name="T38" fmla="*/ 145 w 488"/>
                    <a:gd name="T39" fmla="*/ 468 h 488"/>
                    <a:gd name="T40" fmla="*/ 218 w 488"/>
                    <a:gd name="T41" fmla="*/ 488 h 488"/>
                    <a:gd name="T42" fmla="*/ 247 w 488"/>
                    <a:gd name="T43" fmla="*/ 488 h 488"/>
                    <a:gd name="T44" fmla="*/ 291 w 488"/>
                    <a:gd name="T45" fmla="*/ 418 h 488"/>
                    <a:gd name="T46" fmla="*/ 364 w 488"/>
                    <a:gd name="T47" fmla="*/ 457 h 488"/>
                    <a:gd name="T48" fmla="*/ 389 w 488"/>
                    <a:gd name="T49" fmla="*/ 442 h 488"/>
                    <a:gd name="T50" fmla="*/ 442 w 488"/>
                    <a:gd name="T51" fmla="*/ 389 h 488"/>
                    <a:gd name="T52" fmla="*/ 457 w 488"/>
                    <a:gd name="T53" fmla="*/ 364 h 488"/>
                    <a:gd name="T54" fmla="*/ 419 w 488"/>
                    <a:gd name="T55" fmla="*/ 291 h 488"/>
                    <a:gd name="T56" fmla="*/ 488 w 488"/>
                    <a:gd name="T57" fmla="*/ 246 h 488"/>
                    <a:gd name="T58" fmla="*/ 488 w 488"/>
                    <a:gd name="T59" fmla="*/ 217 h 488"/>
                    <a:gd name="T60" fmla="*/ 244 w 488"/>
                    <a:gd name="T61" fmla="*/ 381 h 488"/>
                    <a:gd name="T62" fmla="*/ 244 w 488"/>
                    <a:gd name="T63" fmla="*/ 107 h 488"/>
                    <a:gd name="T64" fmla="*/ 244 w 488"/>
                    <a:gd name="T65" fmla="*/ 381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488">
                      <a:moveTo>
                        <a:pt x="419" y="197"/>
                      </a:moveTo>
                      <a:cubicBezTo>
                        <a:pt x="434" y="180"/>
                        <a:pt x="469" y="145"/>
                        <a:pt x="469" y="145"/>
                      </a:cubicBezTo>
                      <a:cubicBezTo>
                        <a:pt x="457" y="124"/>
                        <a:pt x="457" y="124"/>
                        <a:pt x="457" y="124"/>
                      </a:cubicBezTo>
                      <a:cubicBezTo>
                        <a:pt x="454" y="119"/>
                        <a:pt x="454" y="119"/>
                        <a:pt x="454" y="119"/>
                      </a:cubicBezTo>
                      <a:cubicBezTo>
                        <a:pt x="442" y="99"/>
                        <a:pt x="442" y="99"/>
                        <a:pt x="442" y="99"/>
                      </a:cubicBezTo>
                      <a:cubicBezTo>
                        <a:pt x="442" y="99"/>
                        <a:pt x="395" y="111"/>
                        <a:pt x="372" y="116"/>
                      </a:cubicBezTo>
                      <a:cubicBezTo>
                        <a:pt x="377" y="93"/>
                        <a:pt x="389" y="45"/>
                        <a:pt x="389" y="45"/>
                      </a:cubicBezTo>
                      <a:cubicBezTo>
                        <a:pt x="369" y="34"/>
                        <a:pt x="369" y="34"/>
                        <a:pt x="369" y="34"/>
                      </a:cubicBezTo>
                      <a:cubicBezTo>
                        <a:pt x="364" y="31"/>
                        <a:pt x="364" y="31"/>
                        <a:pt x="364" y="31"/>
                      </a:cubicBezTo>
                      <a:cubicBezTo>
                        <a:pt x="343" y="19"/>
                        <a:pt x="343" y="19"/>
                        <a:pt x="343" y="19"/>
                      </a:cubicBezTo>
                      <a:cubicBezTo>
                        <a:pt x="343" y="19"/>
                        <a:pt x="308" y="54"/>
                        <a:pt x="291" y="69"/>
                      </a:cubicBezTo>
                      <a:cubicBezTo>
                        <a:pt x="284" y="47"/>
                        <a:pt x="271" y="0"/>
                        <a:pt x="271" y="0"/>
                      </a:cubicBezTo>
                      <a:cubicBezTo>
                        <a:pt x="247" y="0"/>
                        <a:pt x="247" y="0"/>
                        <a:pt x="247" y="0"/>
                      </a:cubicBezTo>
                      <a:cubicBezTo>
                        <a:pt x="242" y="0"/>
                        <a:pt x="242" y="0"/>
                        <a:pt x="242" y="0"/>
                      </a:cubicBezTo>
                      <a:cubicBezTo>
                        <a:pt x="218" y="0"/>
                        <a:pt x="218" y="0"/>
                        <a:pt x="218" y="0"/>
                      </a:cubicBezTo>
                      <a:cubicBezTo>
                        <a:pt x="218" y="0"/>
                        <a:pt x="204" y="47"/>
                        <a:pt x="197" y="69"/>
                      </a:cubicBezTo>
                      <a:cubicBezTo>
                        <a:pt x="181" y="54"/>
                        <a:pt x="145" y="19"/>
                        <a:pt x="145" y="19"/>
                      </a:cubicBezTo>
                      <a:cubicBezTo>
                        <a:pt x="124" y="31"/>
                        <a:pt x="124" y="31"/>
                        <a:pt x="124" y="31"/>
                      </a:cubicBezTo>
                      <a:cubicBezTo>
                        <a:pt x="120" y="34"/>
                        <a:pt x="120" y="34"/>
                        <a:pt x="120" y="34"/>
                      </a:cubicBezTo>
                      <a:cubicBezTo>
                        <a:pt x="99" y="45"/>
                        <a:pt x="99" y="45"/>
                        <a:pt x="99" y="45"/>
                      </a:cubicBezTo>
                      <a:cubicBezTo>
                        <a:pt x="99" y="45"/>
                        <a:pt x="111" y="93"/>
                        <a:pt x="116" y="116"/>
                      </a:cubicBezTo>
                      <a:cubicBezTo>
                        <a:pt x="94" y="111"/>
                        <a:pt x="46" y="99"/>
                        <a:pt x="46" y="99"/>
                      </a:cubicBezTo>
                      <a:cubicBezTo>
                        <a:pt x="34" y="119"/>
                        <a:pt x="34" y="119"/>
                        <a:pt x="34" y="119"/>
                      </a:cubicBezTo>
                      <a:cubicBezTo>
                        <a:pt x="31" y="124"/>
                        <a:pt x="31" y="124"/>
                        <a:pt x="31" y="124"/>
                      </a:cubicBezTo>
                      <a:cubicBezTo>
                        <a:pt x="20" y="145"/>
                        <a:pt x="20" y="145"/>
                        <a:pt x="20" y="145"/>
                      </a:cubicBezTo>
                      <a:cubicBezTo>
                        <a:pt x="20" y="145"/>
                        <a:pt x="54" y="180"/>
                        <a:pt x="70" y="197"/>
                      </a:cubicBezTo>
                      <a:cubicBezTo>
                        <a:pt x="48" y="204"/>
                        <a:pt x="0" y="217"/>
                        <a:pt x="0" y="217"/>
                      </a:cubicBezTo>
                      <a:cubicBezTo>
                        <a:pt x="0" y="241"/>
                        <a:pt x="0" y="241"/>
                        <a:pt x="0" y="241"/>
                      </a:cubicBezTo>
                      <a:cubicBezTo>
                        <a:pt x="0" y="246"/>
                        <a:pt x="0" y="246"/>
                        <a:pt x="0" y="246"/>
                      </a:cubicBezTo>
                      <a:cubicBezTo>
                        <a:pt x="0" y="270"/>
                        <a:pt x="0" y="270"/>
                        <a:pt x="0" y="270"/>
                      </a:cubicBezTo>
                      <a:cubicBezTo>
                        <a:pt x="0" y="270"/>
                        <a:pt x="48" y="284"/>
                        <a:pt x="70" y="291"/>
                      </a:cubicBezTo>
                      <a:cubicBezTo>
                        <a:pt x="54" y="307"/>
                        <a:pt x="20" y="343"/>
                        <a:pt x="20" y="343"/>
                      </a:cubicBezTo>
                      <a:cubicBezTo>
                        <a:pt x="31" y="364"/>
                        <a:pt x="31" y="364"/>
                        <a:pt x="31" y="364"/>
                      </a:cubicBezTo>
                      <a:cubicBezTo>
                        <a:pt x="34" y="368"/>
                        <a:pt x="34" y="368"/>
                        <a:pt x="34" y="368"/>
                      </a:cubicBezTo>
                      <a:cubicBezTo>
                        <a:pt x="46" y="389"/>
                        <a:pt x="46" y="389"/>
                        <a:pt x="46" y="389"/>
                      </a:cubicBezTo>
                      <a:cubicBezTo>
                        <a:pt x="46" y="389"/>
                        <a:pt x="94" y="377"/>
                        <a:pt x="116" y="372"/>
                      </a:cubicBezTo>
                      <a:cubicBezTo>
                        <a:pt x="111" y="394"/>
                        <a:pt x="99" y="442"/>
                        <a:pt x="99" y="442"/>
                      </a:cubicBezTo>
                      <a:cubicBezTo>
                        <a:pt x="120" y="454"/>
                        <a:pt x="120" y="454"/>
                        <a:pt x="120" y="454"/>
                      </a:cubicBezTo>
                      <a:cubicBezTo>
                        <a:pt x="124" y="457"/>
                        <a:pt x="124" y="457"/>
                        <a:pt x="124" y="457"/>
                      </a:cubicBezTo>
                      <a:cubicBezTo>
                        <a:pt x="145" y="468"/>
                        <a:pt x="145" y="468"/>
                        <a:pt x="145" y="468"/>
                      </a:cubicBezTo>
                      <a:cubicBezTo>
                        <a:pt x="145" y="468"/>
                        <a:pt x="181" y="434"/>
                        <a:pt x="197" y="418"/>
                      </a:cubicBezTo>
                      <a:cubicBezTo>
                        <a:pt x="204" y="440"/>
                        <a:pt x="218" y="488"/>
                        <a:pt x="218" y="488"/>
                      </a:cubicBezTo>
                      <a:cubicBezTo>
                        <a:pt x="242" y="488"/>
                        <a:pt x="242" y="488"/>
                        <a:pt x="242" y="488"/>
                      </a:cubicBezTo>
                      <a:cubicBezTo>
                        <a:pt x="247" y="488"/>
                        <a:pt x="247" y="488"/>
                        <a:pt x="247" y="488"/>
                      </a:cubicBezTo>
                      <a:cubicBezTo>
                        <a:pt x="271" y="488"/>
                        <a:pt x="271" y="488"/>
                        <a:pt x="271" y="488"/>
                      </a:cubicBezTo>
                      <a:cubicBezTo>
                        <a:pt x="271" y="488"/>
                        <a:pt x="284" y="440"/>
                        <a:pt x="291" y="418"/>
                      </a:cubicBezTo>
                      <a:cubicBezTo>
                        <a:pt x="308" y="434"/>
                        <a:pt x="343" y="468"/>
                        <a:pt x="343" y="468"/>
                      </a:cubicBezTo>
                      <a:cubicBezTo>
                        <a:pt x="364" y="457"/>
                        <a:pt x="364" y="457"/>
                        <a:pt x="364" y="457"/>
                      </a:cubicBezTo>
                      <a:cubicBezTo>
                        <a:pt x="369" y="454"/>
                        <a:pt x="369" y="454"/>
                        <a:pt x="369" y="454"/>
                      </a:cubicBezTo>
                      <a:cubicBezTo>
                        <a:pt x="389" y="442"/>
                        <a:pt x="389" y="442"/>
                        <a:pt x="389" y="442"/>
                      </a:cubicBezTo>
                      <a:cubicBezTo>
                        <a:pt x="389" y="442"/>
                        <a:pt x="377" y="394"/>
                        <a:pt x="372" y="372"/>
                      </a:cubicBezTo>
                      <a:cubicBezTo>
                        <a:pt x="395" y="377"/>
                        <a:pt x="442" y="389"/>
                        <a:pt x="442" y="389"/>
                      </a:cubicBezTo>
                      <a:cubicBezTo>
                        <a:pt x="454" y="368"/>
                        <a:pt x="454" y="368"/>
                        <a:pt x="454" y="368"/>
                      </a:cubicBezTo>
                      <a:cubicBezTo>
                        <a:pt x="457" y="364"/>
                        <a:pt x="457" y="364"/>
                        <a:pt x="457" y="364"/>
                      </a:cubicBezTo>
                      <a:cubicBezTo>
                        <a:pt x="469" y="343"/>
                        <a:pt x="469" y="343"/>
                        <a:pt x="469" y="343"/>
                      </a:cubicBezTo>
                      <a:cubicBezTo>
                        <a:pt x="469" y="343"/>
                        <a:pt x="434" y="307"/>
                        <a:pt x="419" y="291"/>
                      </a:cubicBezTo>
                      <a:cubicBezTo>
                        <a:pt x="441" y="284"/>
                        <a:pt x="488" y="270"/>
                        <a:pt x="488" y="270"/>
                      </a:cubicBezTo>
                      <a:cubicBezTo>
                        <a:pt x="488" y="246"/>
                        <a:pt x="488" y="246"/>
                        <a:pt x="488" y="246"/>
                      </a:cubicBezTo>
                      <a:cubicBezTo>
                        <a:pt x="488" y="241"/>
                        <a:pt x="488" y="241"/>
                        <a:pt x="488" y="241"/>
                      </a:cubicBezTo>
                      <a:cubicBezTo>
                        <a:pt x="488" y="217"/>
                        <a:pt x="488" y="217"/>
                        <a:pt x="488" y="217"/>
                      </a:cubicBezTo>
                      <a:cubicBezTo>
                        <a:pt x="488" y="217"/>
                        <a:pt x="441" y="204"/>
                        <a:pt x="419" y="197"/>
                      </a:cubicBezTo>
                      <a:close/>
                      <a:moveTo>
                        <a:pt x="244" y="381"/>
                      </a:moveTo>
                      <a:cubicBezTo>
                        <a:pt x="169" y="381"/>
                        <a:pt x="107" y="319"/>
                        <a:pt x="107" y="244"/>
                      </a:cubicBezTo>
                      <a:cubicBezTo>
                        <a:pt x="107" y="168"/>
                        <a:pt x="169" y="107"/>
                        <a:pt x="244" y="107"/>
                      </a:cubicBezTo>
                      <a:cubicBezTo>
                        <a:pt x="320" y="107"/>
                        <a:pt x="381" y="168"/>
                        <a:pt x="381" y="244"/>
                      </a:cubicBezTo>
                      <a:cubicBezTo>
                        <a:pt x="381" y="319"/>
                        <a:pt x="320" y="381"/>
                        <a:pt x="244" y="381"/>
                      </a:cubicBezTo>
                      <a:close/>
                    </a:path>
                  </a:pathLst>
                </a:custGeom>
                <a:solidFill>
                  <a:srgbClr val="FFCE5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0" name="í$lïḍe">
                  <a:extLst>
                    <a:ext uri="{FF2B5EF4-FFF2-40B4-BE49-F238E27FC236}">
                      <a16:creationId xmlns:a16="http://schemas.microsoft.com/office/drawing/2014/main" id="{A20623B5-77E3-4E90-BA46-53B6327A3DC7}"/>
                    </a:ext>
                  </a:extLst>
                </p:cNvPr>
                <p:cNvSpPr/>
                <p:nvPr/>
              </p:nvSpPr>
              <p:spPr bwMode="auto">
                <a:xfrm>
                  <a:off x="3144838" y="2462213"/>
                  <a:ext cx="2540000" cy="2555875"/>
                </a:xfrm>
                <a:custGeom>
                  <a:avLst/>
                  <a:gdLst>
                    <a:gd name="T0" fmla="*/ 1600 w 1600"/>
                    <a:gd name="T1" fmla="*/ 1035 h 1610"/>
                    <a:gd name="T2" fmla="*/ 776 w 1600"/>
                    <a:gd name="T3" fmla="*/ 1610 h 1610"/>
                    <a:gd name="T4" fmla="*/ 0 w 1600"/>
                    <a:gd name="T5" fmla="*/ 496 h 1610"/>
                    <a:gd name="T6" fmla="*/ 712 w 1600"/>
                    <a:gd name="T7" fmla="*/ 0 h 1610"/>
                    <a:gd name="T8" fmla="*/ 796 w 1600"/>
                    <a:gd name="T9" fmla="*/ 10 h 1610"/>
                    <a:gd name="T10" fmla="*/ 890 w 1600"/>
                    <a:gd name="T11" fmla="*/ 20 h 1610"/>
                    <a:gd name="T12" fmla="*/ 1600 w 1600"/>
                    <a:gd name="T13" fmla="*/ 1035 h 1610"/>
                  </a:gdLst>
                  <a:ahLst/>
                  <a:cxnLst>
                    <a:cxn ang="0">
                      <a:pos x="T0" y="T1"/>
                    </a:cxn>
                    <a:cxn ang="0">
                      <a:pos x="T2" y="T3"/>
                    </a:cxn>
                    <a:cxn ang="0">
                      <a:pos x="T4" y="T5"/>
                    </a:cxn>
                    <a:cxn ang="0">
                      <a:pos x="T6" y="T7"/>
                    </a:cxn>
                    <a:cxn ang="0">
                      <a:pos x="T8" y="T9"/>
                    </a:cxn>
                    <a:cxn ang="0">
                      <a:pos x="T10" y="T11"/>
                    </a:cxn>
                    <a:cxn ang="0">
                      <a:pos x="T12" y="T13"/>
                    </a:cxn>
                  </a:cxnLst>
                  <a:rect l="0" t="0" r="r" b="b"/>
                  <a:pathLst>
                    <a:path w="1600" h="1610">
                      <a:moveTo>
                        <a:pt x="1600" y="1035"/>
                      </a:moveTo>
                      <a:lnTo>
                        <a:pt x="776" y="1610"/>
                      </a:lnTo>
                      <a:lnTo>
                        <a:pt x="0" y="496"/>
                      </a:lnTo>
                      <a:lnTo>
                        <a:pt x="712" y="0"/>
                      </a:lnTo>
                      <a:lnTo>
                        <a:pt x="796" y="10"/>
                      </a:lnTo>
                      <a:lnTo>
                        <a:pt x="890" y="20"/>
                      </a:lnTo>
                      <a:lnTo>
                        <a:pt x="1600" y="1035"/>
                      </a:ln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31" name="iṣļíďè">
                  <a:extLst>
                    <a:ext uri="{FF2B5EF4-FFF2-40B4-BE49-F238E27FC236}">
                      <a16:creationId xmlns:a16="http://schemas.microsoft.com/office/drawing/2014/main" id="{AB5E4D3F-3715-4955-8648-7B0E3F228DEB}"/>
                    </a:ext>
                  </a:extLst>
                </p:cNvPr>
                <p:cNvSpPr/>
                <p:nvPr/>
              </p:nvSpPr>
              <p:spPr bwMode="auto">
                <a:xfrm>
                  <a:off x="4275138" y="2462213"/>
                  <a:ext cx="282575" cy="152400"/>
                </a:xfrm>
                <a:custGeom>
                  <a:avLst/>
                  <a:gdLst>
                    <a:gd name="T0" fmla="*/ 0 w 178"/>
                    <a:gd name="T1" fmla="*/ 0 h 96"/>
                    <a:gd name="T2" fmla="*/ 67 w 178"/>
                    <a:gd name="T3" fmla="*/ 96 h 96"/>
                    <a:gd name="T4" fmla="*/ 178 w 178"/>
                    <a:gd name="T5" fmla="*/ 20 h 96"/>
                    <a:gd name="T6" fmla="*/ 0 w 178"/>
                    <a:gd name="T7" fmla="*/ 0 h 96"/>
                  </a:gdLst>
                  <a:ahLst/>
                  <a:cxnLst>
                    <a:cxn ang="0">
                      <a:pos x="T0" y="T1"/>
                    </a:cxn>
                    <a:cxn ang="0">
                      <a:pos x="T2" y="T3"/>
                    </a:cxn>
                    <a:cxn ang="0">
                      <a:pos x="T4" y="T5"/>
                    </a:cxn>
                    <a:cxn ang="0">
                      <a:pos x="T6" y="T7"/>
                    </a:cxn>
                  </a:cxnLst>
                  <a:rect l="0" t="0" r="r" b="b"/>
                  <a:pathLst>
                    <a:path w="178" h="96">
                      <a:moveTo>
                        <a:pt x="0" y="0"/>
                      </a:moveTo>
                      <a:lnTo>
                        <a:pt x="67" y="96"/>
                      </a:lnTo>
                      <a:lnTo>
                        <a:pt x="178" y="2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2" name="íšľiḍé">
                  <a:extLst>
                    <a:ext uri="{FF2B5EF4-FFF2-40B4-BE49-F238E27FC236}">
                      <a16:creationId xmlns:a16="http://schemas.microsoft.com/office/drawing/2014/main" id="{09CB5C10-FFE5-4679-8F22-25B48DCDE6C1}"/>
                    </a:ext>
                  </a:extLst>
                </p:cNvPr>
                <p:cNvSpPr/>
                <p:nvPr/>
              </p:nvSpPr>
              <p:spPr bwMode="auto">
                <a:xfrm>
                  <a:off x="3394076" y="3111501"/>
                  <a:ext cx="627063" cy="622300"/>
                </a:xfrm>
                <a:custGeom>
                  <a:avLst/>
                  <a:gdLst>
                    <a:gd name="T0" fmla="*/ 395 w 395"/>
                    <a:gd name="T1" fmla="*/ 232 h 392"/>
                    <a:gd name="T2" fmla="*/ 163 w 395"/>
                    <a:gd name="T3" fmla="*/ 392 h 392"/>
                    <a:gd name="T4" fmla="*/ 0 w 395"/>
                    <a:gd name="T5" fmla="*/ 161 h 392"/>
                    <a:gd name="T6" fmla="*/ 232 w 395"/>
                    <a:gd name="T7" fmla="*/ 0 h 392"/>
                    <a:gd name="T8" fmla="*/ 395 w 395"/>
                    <a:gd name="T9" fmla="*/ 232 h 392"/>
                  </a:gdLst>
                  <a:ahLst/>
                  <a:cxnLst>
                    <a:cxn ang="0">
                      <a:pos x="T0" y="T1"/>
                    </a:cxn>
                    <a:cxn ang="0">
                      <a:pos x="T2" y="T3"/>
                    </a:cxn>
                    <a:cxn ang="0">
                      <a:pos x="T4" y="T5"/>
                    </a:cxn>
                    <a:cxn ang="0">
                      <a:pos x="T6" y="T7"/>
                    </a:cxn>
                    <a:cxn ang="0">
                      <a:pos x="T8" y="T9"/>
                    </a:cxn>
                  </a:cxnLst>
                  <a:rect l="0" t="0" r="r" b="b"/>
                  <a:pathLst>
                    <a:path w="395" h="392">
                      <a:moveTo>
                        <a:pt x="395" y="232"/>
                      </a:moveTo>
                      <a:lnTo>
                        <a:pt x="163" y="392"/>
                      </a:lnTo>
                      <a:lnTo>
                        <a:pt x="0" y="161"/>
                      </a:lnTo>
                      <a:lnTo>
                        <a:pt x="232" y="0"/>
                      </a:lnTo>
                      <a:lnTo>
                        <a:pt x="395" y="232"/>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3" name="íśḷîḓè">
                  <a:extLst>
                    <a:ext uri="{FF2B5EF4-FFF2-40B4-BE49-F238E27FC236}">
                      <a16:creationId xmlns:a16="http://schemas.microsoft.com/office/drawing/2014/main" id="{B1BD0936-6F18-4C23-AA70-081B0A9C75BA}"/>
                    </a:ext>
                  </a:extLst>
                </p:cNvPr>
                <p:cNvSpPr/>
                <p:nvPr/>
              </p:nvSpPr>
              <p:spPr bwMode="auto">
                <a:xfrm>
                  <a:off x="3892551" y="2701926"/>
                  <a:ext cx="534988" cy="395288"/>
                </a:xfrm>
                <a:custGeom>
                  <a:avLst/>
                  <a:gdLst>
                    <a:gd name="T0" fmla="*/ 337 w 337"/>
                    <a:gd name="T1" fmla="*/ 27 h 249"/>
                    <a:gd name="T2" fmla="*/ 19 w 337"/>
                    <a:gd name="T3" fmla="*/ 249 h 249"/>
                    <a:gd name="T4" fmla="*/ 0 w 337"/>
                    <a:gd name="T5" fmla="*/ 219 h 249"/>
                    <a:gd name="T6" fmla="*/ 318 w 337"/>
                    <a:gd name="T7" fmla="*/ 0 h 249"/>
                    <a:gd name="T8" fmla="*/ 337 w 337"/>
                    <a:gd name="T9" fmla="*/ 27 h 249"/>
                  </a:gdLst>
                  <a:ahLst/>
                  <a:cxnLst>
                    <a:cxn ang="0">
                      <a:pos x="T0" y="T1"/>
                    </a:cxn>
                    <a:cxn ang="0">
                      <a:pos x="T2" y="T3"/>
                    </a:cxn>
                    <a:cxn ang="0">
                      <a:pos x="T4" y="T5"/>
                    </a:cxn>
                    <a:cxn ang="0">
                      <a:pos x="T6" y="T7"/>
                    </a:cxn>
                    <a:cxn ang="0">
                      <a:pos x="T8" y="T9"/>
                    </a:cxn>
                  </a:cxnLst>
                  <a:rect l="0" t="0" r="r" b="b"/>
                  <a:pathLst>
                    <a:path w="337" h="249">
                      <a:moveTo>
                        <a:pt x="337" y="27"/>
                      </a:moveTo>
                      <a:lnTo>
                        <a:pt x="19" y="249"/>
                      </a:lnTo>
                      <a:lnTo>
                        <a:pt x="0" y="219"/>
                      </a:lnTo>
                      <a:lnTo>
                        <a:pt x="318" y="0"/>
                      </a:lnTo>
                      <a:lnTo>
                        <a:pt x="337" y="27"/>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34" name="íSļiḍe">
                  <a:extLst>
                    <a:ext uri="{FF2B5EF4-FFF2-40B4-BE49-F238E27FC236}">
                      <a16:creationId xmlns:a16="http://schemas.microsoft.com/office/drawing/2014/main" id="{2BD67549-C532-467E-961A-C31E0B2729DD}"/>
                    </a:ext>
                  </a:extLst>
                </p:cNvPr>
                <p:cNvSpPr/>
                <p:nvPr/>
              </p:nvSpPr>
              <p:spPr bwMode="auto">
                <a:xfrm>
                  <a:off x="3957638" y="2795588"/>
                  <a:ext cx="536575" cy="395288"/>
                </a:xfrm>
                <a:custGeom>
                  <a:avLst/>
                  <a:gdLst>
                    <a:gd name="T0" fmla="*/ 338 w 338"/>
                    <a:gd name="T1" fmla="*/ 27 h 249"/>
                    <a:gd name="T2" fmla="*/ 20 w 338"/>
                    <a:gd name="T3" fmla="*/ 249 h 249"/>
                    <a:gd name="T4" fmla="*/ 0 w 338"/>
                    <a:gd name="T5" fmla="*/ 219 h 249"/>
                    <a:gd name="T6" fmla="*/ 319 w 338"/>
                    <a:gd name="T7" fmla="*/ 0 h 249"/>
                    <a:gd name="T8" fmla="*/ 338 w 338"/>
                    <a:gd name="T9" fmla="*/ 27 h 249"/>
                  </a:gdLst>
                  <a:ahLst/>
                  <a:cxnLst>
                    <a:cxn ang="0">
                      <a:pos x="T0" y="T1"/>
                    </a:cxn>
                    <a:cxn ang="0">
                      <a:pos x="T2" y="T3"/>
                    </a:cxn>
                    <a:cxn ang="0">
                      <a:pos x="T4" y="T5"/>
                    </a:cxn>
                    <a:cxn ang="0">
                      <a:pos x="T6" y="T7"/>
                    </a:cxn>
                    <a:cxn ang="0">
                      <a:pos x="T8" y="T9"/>
                    </a:cxn>
                  </a:cxnLst>
                  <a:rect l="0" t="0" r="r" b="b"/>
                  <a:pathLst>
                    <a:path w="338" h="249">
                      <a:moveTo>
                        <a:pt x="338" y="27"/>
                      </a:moveTo>
                      <a:lnTo>
                        <a:pt x="20" y="249"/>
                      </a:lnTo>
                      <a:lnTo>
                        <a:pt x="0" y="219"/>
                      </a:lnTo>
                      <a:lnTo>
                        <a:pt x="319" y="0"/>
                      </a:lnTo>
                      <a:lnTo>
                        <a:pt x="338" y="27"/>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35" name="iṧľïḍê">
                  <a:extLst>
                    <a:ext uri="{FF2B5EF4-FFF2-40B4-BE49-F238E27FC236}">
                      <a16:creationId xmlns:a16="http://schemas.microsoft.com/office/drawing/2014/main" id="{782F5404-6063-482D-B50F-BB043782B6FA}"/>
                    </a:ext>
                  </a:extLst>
                </p:cNvPr>
                <p:cNvSpPr/>
                <p:nvPr/>
              </p:nvSpPr>
              <p:spPr bwMode="auto">
                <a:xfrm>
                  <a:off x="4024313" y="2889251"/>
                  <a:ext cx="533400" cy="395288"/>
                </a:xfrm>
                <a:custGeom>
                  <a:avLst/>
                  <a:gdLst>
                    <a:gd name="T0" fmla="*/ 336 w 336"/>
                    <a:gd name="T1" fmla="*/ 27 h 249"/>
                    <a:gd name="T2" fmla="*/ 20 w 336"/>
                    <a:gd name="T3" fmla="*/ 249 h 249"/>
                    <a:gd name="T4" fmla="*/ 0 w 336"/>
                    <a:gd name="T5" fmla="*/ 222 h 249"/>
                    <a:gd name="T6" fmla="*/ 316 w 336"/>
                    <a:gd name="T7" fmla="*/ 0 h 249"/>
                    <a:gd name="T8" fmla="*/ 336 w 336"/>
                    <a:gd name="T9" fmla="*/ 27 h 249"/>
                  </a:gdLst>
                  <a:ahLst/>
                  <a:cxnLst>
                    <a:cxn ang="0">
                      <a:pos x="T0" y="T1"/>
                    </a:cxn>
                    <a:cxn ang="0">
                      <a:pos x="T2" y="T3"/>
                    </a:cxn>
                    <a:cxn ang="0">
                      <a:pos x="T4" y="T5"/>
                    </a:cxn>
                    <a:cxn ang="0">
                      <a:pos x="T6" y="T7"/>
                    </a:cxn>
                    <a:cxn ang="0">
                      <a:pos x="T8" y="T9"/>
                    </a:cxn>
                  </a:cxnLst>
                  <a:rect l="0" t="0" r="r" b="b"/>
                  <a:pathLst>
                    <a:path w="336" h="249">
                      <a:moveTo>
                        <a:pt x="336" y="27"/>
                      </a:moveTo>
                      <a:lnTo>
                        <a:pt x="20" y="249"/>
                      </a:lnTo>
                      <a:lnTo>
                        <a:pt x="0" y="222"/>
                      </a:lnTo>
                      <a:lnTo>
                        <a:pt x="316" y="0"/>
                      </a:lnTo>
                      <a:lnTo>
                        <a:pt x="336" y="27"/>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36" name="isļíḑé">
                  <a:extLst>
                    <a:ext uri="{FF2B5EF4-FFF2-40B4-BE49-F238E27FC236}">
                      <a16:creationId xmlns:a16="http://schemas.microsoft.com/office/drawing/2014/main" id="{C62A692D-BB14-4242-9CCB-C2E25F3CFA0A}"/>
                    </a:ext>
                  </a:extLst>
                </p:cNvPr>
                <p:cNvSpPr/>
                <p:nvPr/>
              </p:nvSpPr>
              <p:spPr bwMode="auto">
                <a:xfrm>
                  <a:off x="4090988" y="2982913"/>
                  <a:ext cx="533400" cy="395288"/>
                </a:xfrm>
                <a:custGeom>
                  <a:avLst/>
                  <a:gdLst>
                    <a:gd name="T0" fmla="*/ 336 w 336"/>
                    <a:gd name="T1" fmla="*/ 30 h 249"/>
                    <a:gd name="T2" fmla="*/ 20 w 336"/>
                    <a:gd name="T3" fmla="*/ 249 h 249"/>
                    <a:gd name="T4" fmla="*/ 0 w 336"/>
                    <a:gd name="T5" fmla="*/ 222 h 249"/>
                    <a:gd name="T6" fmla="*/ 316 w 336"/>
                    <a:gd name="T7" fmla="*/ 0 h 249"/>
                    <a:gd name="T8" fmla="*/ 336 w 336"/>
                    <a:gd name="T9" fmla="*/ 30 h 249"/>
                  </a:gdLst>
                  <a:ahLst/>
                  <a:cxnLst>
                    <a:cxn ang="0">
                      <a:pos x="T0" y="T1"/>
                    </a:cxn>
                    <a:cxn ang="0">
                      <a:pos x="T2" y="T3"/>
                    </a:cxn>
                    <a:cxn ang="0">
                      <a:pos x="T4" y="T5"/>
                    </a:cxn>
                    <a:cxn ang="0">
                      <a:pos x="T6" y="T7"/>
                    </a:cxn>
                    <a:cxn ang="0">
                      <a:pos x="T8" y="T9"/>
                    </a:cxn>
                  </a:cxnLst>
                  <a:rect l="0" t="0" r="r" b="b"/>
                  <a:pathLst>
                    <a:path w="336" h="249">
                      <a:moveTo>
                        <a:pt x="336" y="30"/>
                      </a:moveTo>
                      <a:lnTo>
                        <a:pt x="20" y="249"/>
                      </a:lnTo>
                      <a:lnTo>
                        <a:pt x="0" y="222"/>
                      </a:lnTo>
                      <a:lnTo>
                        <a:pt x="316" y="0"/>
                      </a:lnTo>
                      <a:lnTo>
                        <a:pt x="336" y="3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37" name="iṡľíḓé">
                  <a:extLst>
                    <a:ext uri="{FF2B5EF4-FFF2-40B4-BE49-F238E27FC236}">
                      <a16:creationId xmlns:a16="http://schemas.microsoft.com/office/drawing/2014/main" id="{88A217CE-46CF-47E9-B251-91965C0F9D98}"/>
                    </a:ext>
                  </a:extLst>
                </p:cNvPr>
                <p:cNvSpPr/>
                <p:nvPr/>
              </p:nvSpPr>
              <p:spPr bwMode="auto">
                <a:xfrm>
                  <a:off x="3746501" y="3613151"/>
                  <a:ext cx="622300" cy="625475"/>
                </a:xfrm>
                <a:custGeom>
                  <a:avLst/>
                  <a:gdLst>
                    <a:gd name="T0" fmla="*/ 392 w 392"/>
                    <a:gd name="T1" fmla="*/ 232 h 394"/>
                    <a:gd name="T2" fmla="*/ 163 w 392"/>
                    <a:gd name="T3" fmla="*/ 394 h 394"/>
                    <a:gd name="T4" fmla="*/ 0 w 392"/>
                    <a:gd name="T5" fmla="*/ 163 h 394"/>
                    <a:gd name="T6" fmla="*/ 232 w 392"/>
                    <a:gd name="T7" fmla="*/ 0 h 394"/>
                    <a:gd name="T8" fmla="*/ 392 w 392"/>
                    <a:gd name="T9" fmla="*/ 232 h 394"/>
                  </a:gdLst>
                  <a:ahLst/>
                  <a:cxnLst>
                    <a:cxn ang="0">
                      <a:pos x="T0" y="T1"/>
                    </a:cxn>
                    <a:cxn ang="0">
                      <a:pos x="T2" y="T3"/>
                    </a:cxn>
                    <a:cxn ang="0">
                      <a:pos x="T4" y="T5"/>
                    </a:cxn>
                    <a:cxn ang="0">
                      <a:pos x="T6" y="T7"/>
                    </a:cxn>
                    <a:cxn ang="0">
                      <a:pos x="T8" y="T9"/>
                    </a:cxn>
                  </a:cxnLst>
                  <a:rect l="0" t="0" r="r" b="b"/>
                  <a:pathLst>
                    <a:path w="392" h="394">
                      <a:moveTo>
                        <a:pt x="392" y="232"/>
                      </a:moveTo>
                      <a:lnTo>
                        <a:pt x="163" y="394"/>
                      </a:lnTo>
                      <a:lnTo>
                        <a:pt x="0" y="163"/>
                      </a:lnTo>
                      <a:lnTo>
                        <a:pt x="232" y="0"/>
                      </a:lnTo>
                      <a:lnTo>
                        <a:pt x="392" y="232"/>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8" name="iŝḷîdê">
                  <a:extLst>
                    <a:ext uri="{FF2B5EF4-FFF2-40B4-BE49-F238E27FC236}">
                      <a16:creationId xmlns:a16="http://schemas.microsoft.com/office/drawing/2014/main" id="{177B7315-E263-4B36-AD6F-FA8434E0FFAD}"/>
                    </a:ext>
                  </a:extLst>
                </p:cNvPr>
                <p:cNvSpPr/>
                <p:nvPr/>
              </p:nvSpPr>
              <p:spPr bwMode="auto">
                <a:xfrm>
                  <a:off x="4243388" y="3201988"/>
                  <a:ext cx="533400" cy="395288"/>
                </a:xfrm>
                <a:custGeom>
                  <a:avLst/>
                  <a:gdLst>
                    <a:gd name="T0" fmla="*/ 336 w 336"/>
                    <a:gd name="T1" fmla="*/ 30 h 249"/>
                    <a:gd name="T2" fmla="*/ 20 w 336"/>
                    <a:gd name="T3" fmla="*/ 249 h 249"/>
                    <a:gd name="T4" fmla="*/ 0 w 336"/>
                    <a:gd name="T5" fmla="*/ 222 h 249"/>
                    <a:gd name="T6" fmla="*/ 316 w 336"/>
                    <a:gd name="T7" fmla="*/ 0 h 249"/>
                    <a:gd name="T8" fmla="*/ 336 w 336"/>
                    <a:gd name="T9" fmla="*/ 30 h 249"/>
                  </a:gdLst>
                  <a:ahLst/>
                  <a:cxnLst>
                    <a:cxn ang="0">
                      <a:pos x="T0" y="T1"/>
                    </a:cxn>
                    <a:cxn ang="0">
                      <a:pos x="T2" y="T3"/>
                    </a:cxn>
                    <a:cxn ang="0">
                      <a:pos x="T4" y="T5"/>
                    </a:cxn>
                    <a:cxn ang="0">
                      <a:pos x="T6" y="T7"/>
                    </a:cxn>
                    <a:cxn ang="0">
                      <a:pos x="T8" y="T9"/>
                    </a:cxn>
                  </a:cxnLst>
                  <a:rect l="0" t="0" r="r" b="b"/>
                  <a:pathLst>
                    <a:path w="336" h="249">
                      <a:moveTo>
                        <a:pt x="336" y="30"/>
                      </a:moveTo>
                      <a:lnTo>
                        <a:pt x="20" y="249"/>
                      </a:lnTo>
                      <a:lnTo>
                        <a:pt x="0" y="222"/>
                      </a:lnTo>
                      <a:lnTo>
                        <a:pt x="316" y="0"/>
                      </a:lnTo>
                      <a:lnTo>
                        <a:pt x="336" y="3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39" name="íṧľïḑè">
                  <a:extLst>
                    <a:ext uri="{FF2B5EF4-FFF2-40B4-BE49-F238E27FC236}">
                      <a16:creationId xmlns:a16="http://schemas.microsoft.com/office/drawing/2014/main" id="{4F6AD407-EBB8-4508-863D-980E8E991791}"/>
                    </a:ext>
                  </a:extLst>
                </p:cNvPr>
                <p:cNvSpPr/>
                <p:nvPr/>
              </p:nvSpPr>
              <p:spPr bwMode="auto">
                <a:xfrm>
                  <a:off x="4310063" y="3295651"/>
                  <a:ext cx="533400" cy="395288"/>
                </a:xfrm>
                <a:custGeom>
                  <a:avLst/>
                  <a:gdLst>
                    <a:gd name="T0" fmla="*/ 336 w 336"/>
                    <a:gd name="T1" fmla="*/ 30 h 249"/>
                    <a:gd name="T2" fmla="*/ 20 w 336"/>
                    <a:gd name="T3" fmla="*/ 249 h 249"/>
                    <a:gd name="T4" fmla="*/ 0 w 336"/>
                    <a:gd name="T5" fmla="*/ 222 h 249"/>
                    <a:gd name="T6" fmla="*/ 316 w 336"/>
                    <a:gd name="T7" fmla="*/ 0 h 249"/>
                    <a:gd name="T8" fmla="*/ 336 w 336"/>
                    <a:gd name="T9" fmla="*/ 30 h 249"/>
                  </a:gdLst>
                  <a:ahLst/>
                  <a:cxnLst>
                    <a:cxn ang="0">
                      <a:pos x="T0" y="T1"/>
                    </a:cxn>
                    <a:cxn ang="0">
                      <a:pos x="T2" y="T3"/>
                    </a:cxn>
                    <a:cxn ang="0">
                      <a:pos x="T4" y="T5"/>
                    </a:cxn>
                    <a:cxn ang="0">
                      <a:pos x="T6" y="T7"/>
                    </a:cxn>
                    <a:cxn ang="0">
                      <a:pos x="T8" y="T9"/>
                    </a:cxn>
                  </a:cxnLst>
                  <a:rect l="0" t="0" r="r" b="b"/>
                  <a:pathLst>
                    <a:path w="336" h="249">
                      <a:moveTo>
                        <a:pt x="336" y="30"/>
                      </a:moveTo>
                      <a:lnTo>
                        <a:pt x="20" y="249"/>
                      </a:lnTo>
                      <a:lnTo>
                        <a:pt x="0" y="222"/>
                      </a:lnTo>
                      <a:lnTo>
                        <a:pt x="316" y="0"/>
                      </a:lnTo>
                      <a:lnTo>
                        <a:pt x="336" y="3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0" name="îslíḋe">
                  <a:extLst>
                    <a:ext uri="{FF2B5EF4-FFF2-40B4-BE49-F238E27FC236}">
                      <a16:creationId xmlns:a16="http://schemas.microsoft.com/office/drawing/2014/main" id="{51AF7139-44DE-4780-ABB5-B3F9138DCC0E}"/>
                    </a:ext>
                  </a:extLst>
                </p:cNvPr>
                <p:cNvSpPr/>
                <p:nvPr/>
              </p:nvSpPr>
              <p:spPr bwMode="auto">
                <a:xfrm>
                  <a:off x="4376738" y="3389313"/>
                  <a:ext cx="533400" cy="400050"/>
                </a:xfrm>
                <a:custGeom>
                  <a:avLst/>
                  <a:gdLst>
                    <a:gd name="T0" fmla="*/ 336 w 336"/>
                    <a:gd name="T1" fmla="*/ 30 h 252"/>
                    <a:gd name="T2" fmla="*/ 20 w 336"/>
                    <a:gd name="T3" fmla="*/ 252 h 252"/>
                    <a:gd name="T4" fmla="*/ 0 w 336"/>
                    <a:gd name="T5" fmla="*/ 222 h 252"/>
                    <a:gd name="T6" fmla="*/ 316 w 336"/>
                    <a:gd name="T7" fmla="*/ 0 h 252"/>
                    <a:gd name="T8" fmla="*/ 336 w 336"/>
                    <a:gd name="T9" fmla="*/ 30 h 252"/>
                  </a:gdLst>
                  <a:ahLst/>
                  <a:cxnLst>
                    <a:cxn ang="0">
                      <a:pos x="T0" y="T1"/>
                    </a:cxn>
                    <a:cxn ang="0">
                      <a:pos x="T2" y="T3"/>
                    </a:cxn>
                    <a:cxn ang="0">
                      <a:pos x="T4" y="T5"/>
                    </a:cxn>
                    <a:cxn ang="0">
                      <a:pos x="T6" y="T7"/>
                    </a:cxn>
                    <a:cxn ang="0">
                      <a:pos x="T8" y="T9"/>
                    </a:cxn>
                  </a:cxnLst>
                  <a:rect l="0" t="0" r="r" b="b"/>
                  <a:pathLst>
                    <a:path w="336" h="252">
                      <a:moveTo>
                        <a:pt x="336" y="30"/>
                      </a:moveTo>
                      <a:lnTo>
                        <a:pt x="20" y="252"/>
                      </a:lnTo>
                      <a:lnTo>
                        <a:pt x="0" y="222"/>
                      </a:lnTo>
                      <a:lnTo>
                        <a:pt x="316" y="0"/>
                      </a:lnTo>
                      <a:lnTo>
                        <a:pt x="336" y="3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1" name="ïṥļîdè">
                  <a:extLst>
                    <a:ext uri="{FF2B5EF4-FFF2-40B4-BE49-F238E27FC236}">
                      <a16:creationId xmlns:a16="http://schemas.microsoft.com/office/drawing/2014/main" id="{D59E5F58-945B-4B1B-A844-597152CD1004}"/>
                    </a:ext>
                  </a:extLst>
                </p:cNvPr>
                <p:cNvSpPr/>
                <p:nvPr/>
              </p:nvSpPr>
              <p:spPr bwMode="auto">
                <a:xfrm>
                  <a:off x="4440238" y="3484563"/>
                  <a:ext cx="536575" cy="398463"/>
                </a:xfrm>
                <a:custGeom>
                  <a:avLst/>
                  <a:gdLst>
                    <a:gd name="T0" fmla="*/ 338 w 338"/>
                    <a:gd name="T1" fmla="*/ 29 h 251"/>
                    <a:gd name="T2" fmla="*/ 19 w 338"/>
                    <a:gd name="T3" fmla="*/ 251 h 251"/>
                    <a:gd name="T4" fmla="*/ 0 w 338"/>
                    <a:gd name="T5" fmla="*/ 221 h 251"/>
                    <a:gd name="T6" fmla="*/ 318 w 338"/>
                    <a:gd name="T7" fmla="*/ 0 h 251"/>
                    <a:gd name="T8" fmla="*/ 338 w 338"/>
                    <a:gd name="T9" fmla="*/ 29 h 251"/>
                  </a:gdLst>
                  <a:ahLst/>
                  <a:cxnLst>
                    <a:cxn ang="0">
                      <a:pos x="T0" y="T1"/>
                    </a:cxn>
                    <a:cxn ang="0">
                      <a:pos x="T2" y="T3"/>
                    </a:cxn>
                    <a:cxn ang="0">
                      <a:pos x="T4" y="T5"/>
                    </a:cxn>
                    <a:cxn ang="0">
                      <a:pos x="T6" y="T7"/>
                    </a:cxn>
                    <a:cxn ang="0">
                      <a:pos x="T8" y="T9"/>
                    </a:cxn>
                  </a:cxnLst>
                  <a:rect l="0" t="0" r="r" b="b"/>
                  <a:pathLst>
                    <a:path w="338" h="251">
                      <a:moveTo>
                        <a:pt x="338" y="29"/>
                      </a:moveTo>
                      <a:lnTo>
                        <a:pt x="19" y="251"/>
                      </a:lnTo>
                      <a:lnTo>
                        <a:pt x="0" y="221"/>
                      </a:lnTo>
                      <a:lnTo>
                        <a:pt x="318" y="0"/>
                      </a:lnTo>
                      <a:lnTo>
                        <a:pt x="338" y="29"/>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2" name="isḷíḑè">
                  <a:extLst>
                    <a:ext uri="{FF2B5EF4-FFF2-40B4-BE49-F238E27FC236}">
                      <a16:creationId xmlns:a16="http://schemas.microsoft.com/office/drawing/2014/main" id="{D8ADAD53-F0FD-42FC-8EC9-0510B7FE8CF7}"/>
                    </a:ext>
                  </a:extLst>
                </p:cNvPr>
                <p:cNvSpPr/>
                <p:nvPr/>
              </p:nvSpPr>
              <p:spPr bwMode="auto">
                <a:xfrm>
                  <a:off x="4098926" y="4117976"/>
                  <a:ext cx="622300" cy="622300"/>
                </a:xfrm>
                <a:custGeom>
                  <a:avLst/>
                  <a:gdLst>
                    <a:gd name="T0" fmla="*/ 392 w 392"/>
                    <a:gd name="T1" fmla="*/ 232 h 392"/>
                    <a:gd name="T2" fmla="*/ 161 w 392"/>
                    <a:gd name="T3" fmla="*/ 392 h 392"/>
                    <a:gd name="T4" fmla="*/ 0 w 392"/>
                    <a:gd name="T5" fmla="*/ 160 h 392"/>
                    <a:gd name="T6" fmla="*/ 232 w 392"/>
                    <a:gd name="T7" fmla="*/ 0 h 392"/>
                    <a:gd name="T8" fmla="*/ 392 w 392"/>
                    <a:gd name="T9" fmla="*/ 232 h 392"/>
                  </a:gdLst>
                  <a:ahLst/>
                  <a:cxnLst>
                    <a:cxn ang="0">
                      <a:pos x="T0" y="T1"/>
                    </a:cxn>
                    <a:cxn ang="0">
                      <a:pos x="T2" y="T3"/>
                    </a:cxn>
                    <a:cxn ang="0">
                      <a:pos x="T4" y="T5"/>
                    </a:cxn>
                    <a:cxn ang="0">
                      <a:pos x="T6" y="T7"/>
                    </a:cxn>
                    <a:cxn ang="0">
                      <a:pos x="T8" y="T9"/>
                    </a:cxn>
                  </a:cxnLst>
                  <a:rect l="0" t="0" r="r" b="b"/>
                  <a:pathLst>
                    <a:path w="392" h="392">
                      <a:moveTo>
                        <a:pt x="392" y="232"/>
                      </a:moveTo>
                      <a:lnTo>
                        <a:pt x="161" y="392"/>
                      </a:lnTo>
                      <a:lnTo>
                        <a:pt x="0" y="160"/>
                      </a:lnTo>
                      <a:lnTo>
                        <a:pt x="232" y="0"/>
                      </a:lnTo>
                      <a:lnTo>
                        <a:pt x="392" y="232"/>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3" name="ïSliḓé">
                  <a:extLst>
                    <a:ext uri="{FF2B5EF4-FFF2-40B4-BE49-F238E27FC236}">
                      <a16:creationId xmlns:a16="http://schemas.microsoft.com/office/drawing/2014/main" id="{635F36AF-AEC3-4FE3-A6D1-8447FDB8DDE9}"/>
                    </a:ext>
                  </a:extLst>
                </p:cNvPr>
                <p:cNvSpPr/>
                <p:nvPr/>
              </p:nvSpPr>
              <p:spPr bwMode="auto">
                <a:xfrm>
                  <a:off x="4595813" y="3706813"/>
                  <a:ext cx="533400" cy="395288"/>
                </a:xfrm>
                <a:custGeom>
                  <a:avLst/>
                  <a:gdLst>
                    <a:gd name="T0" fmla="*/ 336 w 336"/>
                    <a:gd name="T1" fmla="*/ 27 h 249"/>
                    <a:gd name="T2" fmla="*/ 20 w 336"/>
                    <a:gd name="T3" fmla="*/ 249 h 249"/>
                    <a:gd name="T4" fmla="*/ 0 w 336"/>
                    <a:gd name="T5" fmla="*/ 219 h 249"/>
                    <a:gd name="T6" fmla="*/ 316 w 336"/>
                    <a:gd name="T7" fmla="*/ 0 h 249"/>
                    <a:gd name="T8" fmla="*/ 336 w 336"/>
                    <a:gd name="T9" fmla="*/ 27 h 249"/>
                  </a:gdLst>
                  <a:ahLst/>
                  <a:cxnLst>
                    <a:cxn ang="0">
                      <a:pos x="T0" y="T1"/>
                    </a:cxn>
                    <a:cxn ang="0">
                      <a:pos x="T2" y="T3"/>
                    </a:cxn>
                    <a:cxn ang="0">
                      <a:pos x="T4" y="T5"/>
                    </a:cxn>
                    <a:cxn ang="0">
                      <a:pos x="T6" y="T7"/>
                    </a:cxn>
                    <a:cxn ang="0">
                      <a:pos x="T8" y="T9"/>
                    </a:cxn>
                  </a:cxnLst>
                  <a:rect l="0" t="0" r="r" b="b"/>
                  <a:pathLst>
                    <a:path w="336" h="249">
                      <a:moveTo>
                        <a:pt x="336" y="27"/>
                      </a:moveTo>
                      <a:lnTo>
                        <a:pt x="20" y="249"/>
                      </a:lnTo>
                      <a:lnTo>
                        <a:pt x="0" y="219"/>
                      </a:lnTo>
                      <a:lnTo>
                        <a:pt x="316" y="0"/>
                      </a:lnTo>
                      <a:lnTo>
                        <a:pt x="336" y="27"/>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4" name="íṣḷîḍé">
                  <a:extLst>
                    <a:ext uri="{FF2B5EF4-FFF2-40B4-BE49-F238E27FC236}">
                      <a16:creationId xmlns:a16="http://schemas.microsoft.com/office/drawing/2014/main" id="{56BEF584-614A-42A3-9A54-4018F4629709}"/>
                    </a:ext>
                  </a:extLst>
                </p:cNvPr>
                <p:cNvSpPr/>
                <p:nvPr/>
              </p:nvSpPr>
              <p:spPr bwMode="auto">
                <a:xfrm>
                  <a:off x="4659313" y="3800476"/>
                  <a:ext cx="536575" cy="395288"/>
                </a:xfrm>
                <a:custGeom>
                  <a:avLst/>
                  <a:gdLst>
                    <a:gd name="T0" fmla="*/ 338 w 338"/>
                    <a:gd name="T1" fmla="*/ 27 h 249"/>
                    <a:gd name="T2" fmla="*/ 20 w 338"/>
                    <a:gd name="T3" fmla="*/ 249 h 249"/>
                    <a:gd name="T4" fmla="*/ 0 w 338"/>
                    <a:gd name="T5" fmla="*/ 220 h 249"/>
                    <a:gd name="T6" fmla="*/ 318 w 338"/>
                    <a:gd name="T7" fmla="*/ 0 h 249"/>
                    <a:gd name="T8" fmla="*/ 338 w 338"/>
                    <a:gd name="T9" fmla="*/ 27 h 249"/>
                  </a:gdLst>
                  <a:ahLst/>
                  <a:cxnLst>
                    <a:cxn ang="0">
                      <a:pos x="T0" y="T1"/>
                    </a:cxn>
                    <a:cxn ang="0">
                      <a:pos x="T2" y="T3"/>
                    </a:cxn>
                    <a:cxn ang="0">
                      <a:pos x="T4" y="T5"/>
                    </a:cxn>
                    <a:cxn ang="0">
                      <a:pos x="T6" y="T7"/>
                    </a:cxn>
                    <a:cxn ang="0">
                      <a:pos x="T8" y="T9"/>
                    </a:cxn>
                  </a:cxnLst>
                  <a:rect l="0" t="0" r="r" b="b"/>
                  <a:pathLst>
                    <a:path w="338" h="249">
                      <a:moveTo>
                        <a:pt x="338" y="27"/>
                      </a:moveTo>
                      <a:lnTo>
                        <a:pt x="20" y="249"/>
                      </a:lnTo>
                      <a:lnTo>
                        <a:pt x="0" y="220"/>
                      </a:lnTo>
                      <a:lnTo>
                        <a:pt x="318" y="0"/>
                      </a:lnTo>
                      <a:lnTo>
                        <a:pt x="338" y="27"/>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5" name="í$ļiḓè">
                  <a:extLst>
                    <a:ext uri="{FF2B5EF4-FFF2-40B4-BE49-F238E27FC236}">
                      <a16:creationId xmlns:a16="http://schemas.microsoft.com/office/drawing/2014/main" id="{93818A53-5B4D-443B-A54D-1E66A16478E5}"/>
                    </a:ext>
                  </a:extLst>
                </p:cNvPr>
                <p:cNvSpPr/>
                <p:nvPr/>
              </p:nvSpPr>
              <p:spPr bwMode="auto">
                <a:xfrm>
                  <a:off x="4725988" y="3894138"/>
                  <a:ext cx="536575" cy="395288"/>
                </a:xfrm>
                <a:custGeom>
                  <a:avLst/>
                  <a:gdLst>
                    <a:gd name="T0" fmla="*/ 338 w 338"/>
                    <a:gd name="T1" fmla="*/ 28 h 249"/>
                    <a:gd name="T2" fmla="*/ 20 w 338"/>
                    <a:gd name="T3" fmla="*/ 249 h 249"/>
                    <a:gd name="T4" fmla="*/ 0 w 338"/>
                    <a:gd name="T5" fmla="*/ 222 h 249"/>
                    <a:gd name="T6" fmla="*/ 318 w 338"/>
                    <a:gd name="T7" fmla="*/ 0 h 249"/>
                    <a:gd name="T8" fmla="*/ 338 w 338"/>
                    <a:gd name="T9" fmla="*/ 28 h 249"/>
                  </a:gdLst>
                  <a:ahLst/>
                  <a:cxnLst>
                    <a:cxn ang="0">
                      <a:pos x="T0" y="T1"/>
                    </a:cxn>
                    <a:cxn ang="0">
                      <a:pos x="T2" y="T3"/>
                    </a:cxn>
                    <a:cxn ang="0">
                      <a:pos x="T4" y="T5"/>
                    </a:cxn>
                    <a:cxn ang="0">
                      <a:pos x="T6" y="T7"/>
                    </a:cxn>
                    <a:cxn ang="0">
                      <a:pos x="T8" y="T9"/>
                    </a:cxn>
                  </a:cxnLst>
                  <a:rect l="0" t="0" r="r" b="b"/>
                  <a:pathLst>
                    <a:path w="338" h="249">
                      <a:moveTo>
                        <a:pt x="338" y="28"/>
                      </a:moveTo>
                      <a:lnTo>
                        <a:pt x="20" y="249"/>
                      </a:lnTo>
                      <a:lnTo>
                        <a:pt x="0" y="222"/>
                      </a:lnTo>
                      <a:lnTo>
                        <a:pt x="318" y="0"/>
                      </a:lnTo>
                      <a:lnTo>
                        <a:pt x="338" y="28"/>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6" name="íŝ1íḍe">
                  <a:extLst>
                    <a:ext uri="{FF2B5EF4-FFF2-40B4-BE49-F238E27FC236}">
                      <a16:creationId xmlns:a16="http://schemas.microsoft.com/office/drawing/2014/main" id="{827B21C9-F1C6-4298-BC9D-ADCFF61C25E1}"/>
                    </a:ext>
                  </a:extLst>
                </p:cNvPr>
                <p:cNvSpPr/>
                <p:nvPr/>
              </p:nvSpPr>
              <p:spPr bwMode="auto">
                <a:xfrm>
                  <a:off x="4792663" y="3989388"/>
                  <a:ext cx="536575" cy="395288"/>
                </a:xfrm>
                <a:custGeom>
                  <a:avLst/>
                  <a:gdLst>
                    <a:gd name="T0" fmla="*/ 338 w 338"/>
                    <a:gd name="T1" fmla="*/ 29 h 249"/>
                    <a:gd name="T2" fmla="*/ 19 w 338"/>
                    <a:gd name="T3" fmla="*/ 249 h 249"/>
                    <a:gd name="T4" fmla="*/ 0 w 338"/>
                    <a:gd name="T5" fmla="*/ 221 h 249"/>
                    <a:gd name="T6" fmla="*/ 318 w 338"/>
                    <a:gd name="T7" fmla="*/ 0 h 249"/>
                    <a:gd name="T8" fmla="*/ 338 w 338"/>
                    <a:gd name="T9" fmla="*/ 29 h 249"/>
                  </a:gdLst>
                  <a:ahLst/>
                  <a:cxnLst>
                    <a:cxn ang="0">
                      <a:pos x="T0" y="T1"/>
                    </a:cxn>
                    <a:cxn ang="0">
                      <a:pos x="T2" y="T3"/>
                    </a:cxn>
                    <a:cxn ang="0">
                      <a:pos x="T4" y="T5"/>
                    </a:cxn>
                    <a:cxn ang="0">
                      <a:pos x="T6" y="T7"/>
                    </a:cxn>
                    <a:cxn ang="0">
                      <a:pos x="T8" y="T9"/>
                    </a:cxn>
                  </a:cxnLst>
                  <a:rect l="0" t="0" r="r" b="b"/>
                  <a:pathLst>
                    <a:path w="338" h="249">
                      <a:moveTo>
                        <a:pt x="338" y="29"/>
                      </a:moveTo>
                      <a:lnTo>
                        <a:pt x="19" y="249"/>
                      </a:lnTo>
                      <a:lnTo>
                        <a:pt x="0" y="221"/>
                      </a:lnTo>
                      <a:lnTo>
                        <a:pt x="318" y="0"/>
                      </a:lnTo>
                      <a:lnTo>
                        <a:pt x="338" y="29"/>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7" name="iṥḷîḍê">
                  <a:extLst>
                    <a:ext uri="{FF2B5EF4-FFF2-40B4-BE49-F238E27FC236}">
                      <a16:creationId xmlns:a16="http://schemas.microsoft.com/office/drawing/2014/main" id="{123051CC-2568-42BE-9F88-46E845A17DD6}"/>
                    </a:ext>
                  </a:extLst>
                </p:cNvPr>
                <p:cNvSpPr/>
                <p:nvPr/>
              </p:nvSpPr>
              <p:spPr bwMode="auto">
                <a:xfrm>
                  <a:off x="6977063" y="1449388"/>
                  <a:ext cx="2090738" cy="2489200"/>
                </a:xfrm>
                <a:custGeom>
                  <a:avLst/>
                  <a:gdLst>
                    <a:gd name="T0" fmla="*/ 315 w 534"/>
                    <a:gd name="T1" fmla="*/ 628 h 636"/>
                    <a:gd name="T2" fmla="*/ 33 w 534"/>
                    <a:gd name="T3" fmla="*/ 528 h 636"/>
                    <a:gd name="T4" fmla="*/ 8 w 534"/>
                    <a:gd name="T5" fmla="*/ 474 h 636"/>
                    <a:gd name="T6" fmla="*/ 165 w 534"/>
                    <a:gd name="T7" fmla="*/ 34 h 636"/>
                    <a:gd name="T8" fmla="*/ 218 w 534"/>
                    <a:gd name="T9" fmla="*/ 8 h 636"/>
                    <a:gd name="T10" fmla="*/ 500 w 534"/>
                    <a:gd name="T11" fmla="*/ 109 h 636"/>
                    <a:gd name="T12" fmla="*/ 526 w 534"/>
                    <a:gd name="T13" fmla="*/ 162 h 636"/>
                    <a:gd name="T14" fmla="*/ 369 w 534"/>
                    <a:gd name="T15" fmla="*/ 603 h 636"/>
                    <a:gd name="T16" fmla="*/ 315 w 534"/>
                    <a:gd name="T17" fmla="*/ 6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636">
                      <a:moveTo>
                        <a:pt x="315" y="628"/>
                      </a:moveTo>
                      <a:cubicBezTo>
                        <a:pt x="33" y="528"/>
                        <a:pt x="33" y="528"/>
                        <a:pt x="33" y="528"/>
                      </a:cubicBezTo>
                      <a:cubicBezTo>
                        <a:pt x="11" y="520"/>
                        <a:pt x="0" y="496"/>
                        <a:pt x="8" y="474"/>
                      </a:cubicBezTo>
                      <a:cubicBezTo>
                        <a:pt x="165" y="34"/>
                        <a:pt x="165" y="34"/>
                        <a:pt x="165" y="34"/>
                      </a:cubicBezTo>
                      <a:cubicBezTo>
                        <a:pt x="173" y="12"/>
                        <a:pt x="197" y="0"/>
                        <a:pt x="218" y="8"/>
                      </a:cubicBezTo>
                      <a:cubicBezTo>
                        <a:pt x="500" y="109"/>
                        <a:pt x="500" y="109"/>
                        <a:pt x="500" y="109"/>
                      </a:cubicBezTo>
                      <a:cubicBezTo>
                        <a:pt x="522" y="116"/>
                        <a:pt x="534" y="141"/>
                        <a:pt x="526" y="162"/>
                      </a:cubicBezTo>
                      <a:cubicBezTo>
                        <a:pt x="369" y="603"/>
                        <a:pt x="369" y="603"/>
                        <a:pt x="369" y="603"/>
                      </a:cubicBezTo>
                      <a:cubicBezTo>
                        <a:pt x="361" y="625"/>
                        <a:pt x="337" y="636"/>
                        <a:pt x="315" y="628"/>
                      </a:cubicBezTo>
                      <a:close/>
                    </a:path>
                  </a:pathLst>
                </a:custGeom>
                <a:solidFill>
                  <a:srgbClr val="FFCE5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8" name="i$lïḋé">
                  <a:extLst>
                    <a:ext uri="{FF2B5EF4-FFF2-40B4-BE49-F238E27FC236}">
                      <a16:creationId xmlns:a16="http://schemas.microsoft.com/office/drawing/2014/main" id="{FD76DC9A-DB29-4206-B498-445FDF5FEBBC}"/>
                    </a:ext>
                  </a:extLst>
                </p:cNvPr>
                <p:cNvSpPr/>
                <p:nvPr/>
              </p:nvSpPr>
              <p:spPr bwMode="auto">
                <a:xfrm>
                  <a:off x="8307388" y="1441451"/>
                  <a:ext cx="234950" cy="238125"/>
                </a:xfrm>
                <a:custGeom>
                  <a:avLst/>
                  <a:gdLst>
                    <a:gd name="T0" fmla="*/ 26 w 60"/>
                    <a:gd name="T1" fmla="*/ 41 h 61"/>
                    <a:gd name="T2" fmla="*/ 19 w 60"/>
                    <a:gd name="T3" fmla="*/ 27 h 61"/>
                    <a:gd name="T4" fmla="*/ 34 w 60"/>
                    <a:gd name="T5" fmla="*/ 20 h 61"/>
                    <a:gd name="T6" fmla="*/ 41 w 60"/>
                    <a:gd name="T7" fmla="*/ 34 h 61"/>
                    <a:gd name="T8" fmla="*/ 26 w 60"/>
                    <a:gd name="T9" fmla="*/ 41 h 61"/>
                    <a:gd name="T10" fmla="*/ 39 w 60"/>
                    <a:gd name="T11" fmla="*/ 5 h 61"/>
                    <a:gd name="T12" fmla="*/ 5 w 60"/>
                    <a:gd name="T13" fmla="*/ 21 h 61"/>
                    <a:gd name="T14" fmla="*/ 21 w 60"/>
                    <a:gd name="T15" fmla="*/ 56 h 61"/>
                    <a:gd name="T16" fmla="*/ 55 w 60"/>
                    <a:gd name="T17" fmla="*/ 39 h 61"/>
                    <a:gd name="T18" fmla="*/ 39 w 60"/>
                    <a:gd name="T19"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26" y="41"/>
                      </a:moveTo>
                      <a:cubicBezTo>
                        <a:pt x="20" y="39"/>
                        <a:pt x="17" y="32"/>
                        <a:pt x="19" y="27"/>
                      </a:cubicBezTo>
                      <a:cubicBezTo>
                        <a:pt x="22" y="21"/>
                        <a:pt x="28" y="18"/>
                        <a:pt x="34" y="20"/>
                      </a:cubicBezTo>
                      <a:cubicBezTo>
                        <a:pt x="40" y="22"/>
                        <a:pt x="43" y="28"/>
                        <a:pt x="41" y="34"/>
                      </a:cubicBezTo>
                      <a:cubicBezTo>
                        <a:pt x="39" y="40"/>
                        <a:pt x="32" y="43"/>
                        <a:pt x="26" y="41"/>
                      </a:cubicBezTo>
                      <a:close/>
                      <a:moveTo>
                        <a:pt x="39" y="5"/>
                      </a:moveTo>
                      <a:cubicBezTo>
                        <a:pt x="25" y="0"/>
                        <a:pt x="10" y="7"/>
                        <a:pt x="5" y="21"/>
                      </a:cubicBezTo>
                      <a:cubicBezTo>
                        <a:pt x="0" y="35"/>
                        <a:pt x="7" y="51"/>
                        <a:pt x="21" y="56"/>
                      </a:cubicBezTo>
                      <a:cubicBezTo>
                        <a:pt x="35" y="61"/>
                        <a:pt x="50" y="53"/>
                        <a:pt x="55" y="39"/>
                      </a:cubicBezTo>
                      <a:cubicBezTo>
                        <a:pt x="60" y="25"/>
                        <a:pt x="53" y="10"/>
                        <a:pt x="39" y="5"/>
                      </a:cubicBezTo>
                      <a:close/>
                    </a:path>
                  </a:pathLst>
                </a:custGeom>
                <a:solidFill>
                  <a:srgbClr val="E89F2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p>
                  <a:pPr algn="ctr"/>
                  <a:endParaRPr/>
                </a:p>
              </p:txBody>
            </p:sp>
            <p:sp>
              <p:nvSpPr>
                <p:cNvPr id="49" name="iṣľíďé">
                  <a:extLst>
                    <a:ext uri="{FF2B5EF4-FFF2-40B4-BE49-F238E27FC236}">
                      <a16:creationId xmlns:a16="http://schemas.microsoft.com/office/drawing/2014/main" id="{96DEA4D7-D1FF-43DD-B563-3D607266F856}"/>
                    </a:ext>
                  </a:extLst>
                </p:cNvPr>
                <p:cNvSpPr/>
                <p:nvPr/>
              </p:nvSpPr>
              <p:spPr bwMode="auto">
                <a:xfrm>
                  <a:off x="7962901" y="1465263"/>
                  <a:ext cx="841375" cy="425450"/>
                </a:xfrm>
                <a:custGeom>
                  <a:avLst/>
                  <a:gdLst>
                    <a:gd name="T0" fmla="*/ 496 w 530"/>
                    <a:gd name="T1" fmla="*/ 268 h 268"/>
                    <a:gd name="T2" fmla="*/ 0 w 530"/>
                    <a:gd name="T3" fmla="*/ 91 h 268"/>
                    <a:gd name="T4" fmla="*/ 32 w 530"/>
                    <a:gd name="T5" fmla="*/ 0 h 268"/>
                    <a:gd name="T6" fmla="*/ 530 w 530"/>
                    <a:gd name="T7" fmla="*/ 177 h 268"/>
                    <a:gd name="T8" fmla="*/ 496 w 530"/>
                    <a:gd name="T9" fmla="*/ 268 h 268"/>
                  </a:gdLst>
                  <a:ahLst/>
                  <a:cxnLst>
                    <a:cxn ang="0">
                      <a:pos x="T0" y="T1"/>
                    </a:cxn>
                    <a:cxn ang="0">
                      <a:pos x="T2" y="T3"/>
                    </a:cxn>
                    <a:cxn ang="0">
                      <a:pos x="T4" y="T5"/>
                    </a:cxn>
                    <a:cxn ang="0">
                      <a:pos x="T6" y="T7"/>
                    </a:cxn>
                    <a:cxn ang="0">
                      <a:pos x="T8" y="T9"/>
                    </a:cxn>
                  </a:cxnLst>
                  <a:rect l="0" t="0" r="r" b="b"/>
                  <a:pathLst>
                    <a:path w="530" h="268">
                      <a:moveTo>
                        <a:pt x="496" y="268"/>
                      </a:moveTo>
                      <a:lnTo>
                        <a:pt x="0" y="91"/>
                      </a:lnTo>
                      <a:lnTo>
                        <a:pt x="32" y="0"/>
                      </a:lnTo>
                      <a:lnTo>
                        <a:pt x="530" y="177"/>
                      </a:lnTo>
                      <a:lnTo>
                        <a:pt x="496" y="268"/>
                      </a:lnTo>
                      <a:close/>
                    </a:path>
                  </a:pathLst>
                </a:custGeom>
                <a:solidFill>
                  <a:srgbClr val="E89F2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0" name="íṡ1ïḋê">
                  <a:extLst>
                    <a:ext uri="{FF2B5EF4-FFF2-40B4-BE49-F238E27FC236}">
                      <a16:creationId xmlns:a16="http://schemas.microsoft.com/office/drawing/2014/main" id="{B4888D55-9644-4B7F-8EA6-85AE588A46A0}"/>
                    </a:ext>
                  </a:extLst>
                </p:cNvPr>
                <p:cNvSpPr/>
                <p:nvPr/>
              </p:nvSpPr>
              <p:spPr bwMode="auto">
                <a:xfrm>
                  <a:off x="6996113" y="1577976"/>
                  <a:ext cx="1997075" cy="2230438"/>
                </a:xfrm>
                <a:custGeom>
                  <a:avLst/>
                  <a:gdLst>
                    <a:gd name="T0" fmla="*/ 723 w 1258"/>
                    <a:gd name="T1" fmla="*/ 1405 h 1405"/>
                    <a:gd name="T2" fmla="*/ 0 w 1258"/>
                    <a:gd name="T3" fmla="*/ 1030 h 1405"/>
                    <a:gd name="T4" fmla="*/ 538 w 1258"/>
                    <a:gd name="T5" fmla="*/ 0 h 1405"/>
                    <a:gd name="T6" fmla="*/ 1258 w 1258"/>
                    <a:gd name="T7" fmla="*/ 377 h 1405"/>
                    <a:gd name="T8" fmla="*/ 723 w 1258"/>
                    <a:gd name="T9" fmla="*/ 1405 h 1405"/>
                  </a:gdLst>
                  <a:ahLst/>
                  <a:cxnLst>
                    <a:cxn ang="0">
                      <a:pos x="T0" y="T1"/>
                    </a:cxn>
                    <a:cxn ang="0">
                      <a:pos x="T2" y="T3"/>
                    </a:cxn>
                    <a:cxn ang="0">
                      <a:pos x="T4" y="T5"/>
                    </a:cxn>
                    <a:cxn ang="0">
                      <a:pos x="T6" y="T7"/>
                    </a:cxn>
                    <a:cxn ang="0">
                      <a:pos x="T8" y="T9"/>
                    </a:cxn>
                  </a:cxnLst>
                  <a:rect l="0" t="0" r="r" b="b"/>
                  <a:pathLst>
                    <a:path w="1258" h="1405">
                      <a:moveTo>
                        <a:pt x="723" y="1405"/>
                      </a:moveTo>
                      <a:lnTo>
                        <a:pt x="0" y="1030"/>
                      </a:lnTo>
                      <a:lnTo>
                        <a:pt x="538" y="0"/>
                      </a:lnTo>
                      <a:lnTo>
                        <a:pt x="1258" y="377"/>
                      </a:lnTo>
                      <a:lnTo>
                        <a:pt x="723" y="1405"/>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1" name="îşľíďê">
                  <a:extLst>
                    <a:ext uri="{FF2B5EF4-FFF2-40B4-BE49-F238E27FC236}">
                      <a16:creationId xmlns:a16="http://schemas.microsoft.com/office/drawing/2014/main" id="{887F2239-BCE0-49CE-B246-4F3DB2DCE608}"/>
                    </a:ext>
                  </a:extLst>
                </p:cNvPr>
                <p:cNvSpPr/>
                <p:nvPr/>
              </p:nvSpPr>
              <p:spPr bwMode="auto">
                <a:xfrm>
                  <a:off x="7140576" y="1625601"/>
                  <a:ext cx="1778000" cy="2092325"/>
                </a:xfrm>
                <a:custGeom>
                  <a:avLst/>
                  <a:gdLst>
                    <a:gd name="T0" fmla="*/ 0 w 1120"/>
                    <a:gd name="T1" fmla="*/ 1050 h 1318"/>
                    <a:gd name="T2" fmla="*/ 738 w 1120"/>
                    <a:gd name="T3" fmla="*/ 1318 h 1318"/>
                    <a:gd name="T4" fmla="*/ 1120 w 1120"/>
                    <a:gd name="T5" fmla="*/ 268 h 1318"/>
                    <a:gd name="T6" fmla="*/ 383 w 1120"/>
                    <a:gd name="T7" fmla="*/ 0 h 1318"/>
                    <a:gd name="T8" fmla="*/ 0 w 1120"/>
                    <a:gd name="T9" fmla="*/ 1050 h 1318"/>
                  </a:gdLst>
                  <a:ahLst/>
                  <a:cxnLst>
                    <a:cxn ang="0">
                      <a:pos x="T0" y="T1"/>
                    </a:cxn>
                    <a:cxn ang="0">
                      <a:pos x="T2" y="T3"/>
                    </a:cxn>
                    <a:cxn ang="0">
                      <a:pos x="T4" y="T5"/>
                    </a:cxn>
                    <a:cxn ang="0">
                      <a:pos x="T6" y="T7"/>
                    </a:cxn>
                    <a:cxn ang="0">
                      <a:pos x="T8" y="T9"/>
                    </a:cxn>
                  </a:cxnLst>
                  <a:rect l="0" t="0" r="r" b="b"/>
                  <a:pathLst>
                    <a:path w="1120" h="1318">
                      <a:moveTo>
                        <a:pt x="0" y="1050"/>
                      </a:moveTo>
                      <a:lnTo>
                        <a:pt x="738" y="1318"/>
                      </a:lnTo>
                      <a:lnTo>
                        <a:pt x="1120" y="268"/>
                      </a:lnTo>
                      <a:lnTo>
                        <a:pt x="383" y="0"/>
                      </a:lnTo>
                      <a:lnTo>
                        <a:pt x="0" y="10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2" name="íṡļiďè">
                  <a:extLst>
                    <a:ext uri="{FF2B5EF4-FFF2-40B4-BE49-F238E27FC236}">
                      <a16:creationId xmlns:a16="http://schemas.microsoft.com/office/drawing/2014/main" id="{97E8DD62-6F0A-493B-90BB-06CE63E72645}"/>
                    </a:ext>
                  </a:extLst>
                </p:cNvPr>
                <p:cNvSpPr/>
                <p:nvPr/>
              </p:nvSpPr>
              <p:spPr bwMode="auto">
                <a:xfrm>
                  <a:off x="7842251" y="1817688"/>
                  <a:ext cx="868363" cy="355600"/>
                </a:xfrm>
                <a:custGeom>
                  <a:avLst/>
                  <a:gdLst>
                    <a:gd name="T0" fmla="*/ 0 w 547"/>
                    <a:gd name="T1" fmla="*/ 36 h 224"/>
                    <a:gd name="T2" fmla="*/ 532 w 547"/>
                    <a:gd name="T3" fmla="*/ 224 h 224"/>
                    <a:gd name="T4" fmla="*/ 547 w 547"/>
                    <a:gd name="T5" fmla="*/ 189 h 224"/>
                    <a:gd name="T6" fmla="*/ 12 w 547"/>
                    <a:gd name="T7" fmla="*/ 0 h 224"/>
                    <a:gd name="T8" fmla="*/ 0 w 547"/>
                    <a:gd name="T9" fmla="*/ 36 h 224"/>
                  </a:gdLst>
                  <a:ahLst/>
                  <a:cxnLst>
                    <a:cxn ang="0">
                      <a:pos x="T0" y="T1"/>
                    </a:cxn>
                    <a:cxn ang="0">
                      <a:pos x="T2" y="T3"/>
                    </a:cxn>
                    <a:cxn ang="0">
                      <a:pos x="T4" y="T5"/>
                    </a:cxn>
                    <a:cxn ang="0">
                      <a:pos x="T6" y="T7"/>
                    </a:cxn>
                    <a:cxn ang="0">
                      <a:pos x="T8" y="T9"/>
                    </a:cxn>
                  </a:cxnLst>
                  <a:rect l="0" t="0" r="r" b="b"/>
                  <a:pathLst>
                    <a:path w="547" h="224">
                      <a:moveTo>
                        <a:pt x="0" y="36"/>
                      </a:moveTo>
                      <a:lnTo>
                        <a:pt x="532" y="224"/>
                      </a:lnTo>
                      <a:lnTo>
                        <a:pt x="547" y="189"/>
                      </a:lnTo>
                      <a:lnTo>
                        <a:pt x="12" y="0"/>
                      </a:lnTo>
                      <a:lnTo>
                        <a:pt x="0" y="36"/>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p>
                  <a:pPr algn="ctr"/>
                  <a:endParaRPr/>
                </a:p>
              </p:txBody>
            </p:sp>
            <p:sp>
              <p:nvSpPr>
                <p:cNvPr id="53" name="išlïḑè">
                  <a:extLst>
                    <a:ext uri="{FF2B5EF4-FFF2-40B4-BE49-F238E27FC236}">
                      <a16:creationId xmlns:a16="http://schemas.microsoft.com/office/drawing/2014/main" id="{9FC215BF-059F-48B7-BC01-6079995D3250}"/>
                    </a:ext>
                  </a:extLst>
                </p:cNvPr>
                <p:cNvSpPr/>
                <p:nvPr/>
              </p:nvSpPr>
              <p:spPr bwMode="auto">
                <a:xfrm>
                  <a:off x="8002588" y="2141538"/>
                  <a:ext cx="619125" cy="269875"/>
                </a:xfrm>
                <a:custGeom>
                  <a:avLst/>
                  <a:gdLst>
                    <a:gd name="T0" fmla="*/ 0 w 390"/>
                    <a:gd name="T1" fmla="*/ 37 h 170"/>
                    <a:gd name="T2" fmla="*/ 377 w 390"/>
                    <a:gd name="T3" fmla="*/ 170 h 170"/>
                    <a:gd name="T4" fmla="*/ 390 w 390"/>
                    <a:gd name="T5" fmla="*/ 136 h 170"/>
                    <a:gd name="T6" fmla="*/ 12 w 390"/>
                    <a:gd name="T7" fmla="*/ 0 h 170"/>
                    <a:gd name="T8" fmla="*/ 0 w 390"/>
                    <a:gd name="T9" fmla="*/ 37 h 170"/>
                  </a:gdLst>
                  <a:ahLst/>
                  <a:cxnLst>
                    <a:cxn ang="0">
                      <a:pos x="T0" y="T1"/>
                    </a:cxn>
                    <a:cxn ang="0">
                      <a:pos x="T2" y="T3"/>
                    </a:cxn>
                    <a:cxn ang="0">
                      <a:pos x="T4" y="T5"/>
                    </a:cxn>
                    <a:cxn ang="0">
                      <a:pos x="T6" y="T7"/>
                    </a:cxn>
                    <a:cxn ang="0">
                      <a:pos x="T8" y="T9"/>
                    </a:cxn>
                  </a:cxnLst>
                  <a:rect l="0" t="0" r="r" b="b"/>
                  <a:pathLst>
                    <a:path w="390" h="170">
                      <a:moveTo>
                        <a:pt x="0" y="37"/>
                      </a:moveTo>
                      <a:lnTo>
                        <a:pt x="377" y="170"/>
                      </a:lnTo>
                      <a:lnTo>
                        <a:pt x="390" y="136"/>
                      </a:lnTo>
                      <a:lnTo>
                        <a:pt x="12" y="0"/>
                      </a:lnTo>
                      <a:lnTo>
                        <a:pt x="0" y="37"/>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54" name="íṩḻïde">
                  <a:extLst>
                    <a:ext uri="{FF2B5EF4-FFF2-40B4-BE49-F238E27FC236}">
                      <a16:creationId xmlns:a16="http://schemas.microsoft.com/office/drawing/2014/main" id="{44EEA916-8B1B-4DFE-B778-49E285DBFCC6}"/>
                    </a:ext>
                  </a:extLst>
                </p:cNvPr>
                <p:cNvSpPr/>
                <p:nvPr/>
              </p:nvSpPr>
              <p:spPr bwMode="auto">
                <a:xfrm>
                  <a:off x="7732713" y="2020888"/>
                  <a:ext cx="203200" cy="198438"/>
                </a:xfrm>
                <a:custGeom>
                  <a:avLst/>
                  <a:gdLst>
                    <a:gd name="T0" fmla="*/ 93 w 128"/>
                    <a:gd name="T1" fmla="*/ 125 h 125"/>
                    <a:gd name="T2" fmla="*/ 0 w 128"/>
                    <a:gd name="T3" fmla="*/ 93 h 125"/>
                    <a:gd name="T4" fmla="*/ 34 w 128"/>
                    <a:gd name="T5" fmla="*/ 0 h 125"/>
                    <a:gd name="T6" fmla="*/ 128 w 128"/>
                    <a:gd name="T7" fmla="*/ 34 h 125"/>
                    <a:gd name="T8" fmla="*/ 93 w 128"/>
                    <a:gd name="T9" fmla="*/ 125 h 125"/>
                    <a:gd name="T10" fmla="*/ 15 w 128"/>
                    <a:gd name="T11" fmla="*/ 86 h 125"/>
                    <a:gd name="T12" fmla="*/ 86 w 128"/>
                    <a:gd name="T13" fmla="*/ 113 h 125"/>
                    <a:gd name="T14" fmla="*/ 113 w 128"/>
                    <a:gd name="T15" fmla="*/ 39 h 125"/>
                    <a:gd name="T16" fmla="*/ 42 w 128"/>
                    <a:gd name="T17" fmla="*/ 14 h 125"/>
                    <a:gd name="T18" fmla="*/ 15 w 128"/>
                    <a:gd name="T19" fmla="*/ 8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5">
                      <a:moveTo>
                        <a:pt x="93" y="125"/>
                      </a:moveTo>
                      <a:lnTo>
                        <a:pt x="0" y="93"/>
                      </a:lnTo>
                      <a:lnTo>
                        <a:pt x="34" y="0"/>
                      </a:lnTo>
                      <a:lnTo>
                        <a:pt x="128" y="34"/>
                      </a:lnTo>
                      <a:lnTo>
                        <a:pt x="93" y="125"/>
                      </a:lnTo>
                      <a:close/>
                      <a:moveTo>
                        <a:pt x="15" y="86"/>
                      </a:moveTo>
                      <a:lnTo>
                        <a:pt x="86" y="113"/>
                      </a:lnTo>
                      <a:lnTo>
                        <a:pt x="113" y="39"/>
                      </a:lnTo>
                      <a:lnTo>
                        <a:pt x="42" y="14"/>
                      </a:lnTo>
                      <a:lnTo>
                        <a:pt x="15" y="86"/>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55" name="išḷíde">
                  <a:extLst>
                    <a:ext uri="{FF2B5EF4-FFF2-40B4-BE49-F238E27FC236}">
                      <a16:creationId xmlns:a16="http://schemas.microsoft.com/office/drawing/2014/main" id="{76B262F3-D431-4D1E-B7EA-4E85287E2BFF}"/>
                    </a:ext>
                  </a:extLst>
                </p:cNvPr>
                <p:cNvSpPr/>
                <p:nvPr/>
              </p:nvSpPr>
              <p:spPr bwMode="auto">
                <a:xfrm>
                  <a:off x="7896226" y="2432051"/>
                  <a:ext cx="622300" cy="269875"/>
                </a:xfrm>
                <a:custGeom>
                  <a:avLst/>
                  <a:gdLst>
                    <a:gd name="T0" fmla="*/ 0 w 392"/>
                    <a:gd name="T1" fmla="*/ 36 h 170"/>
                    <a:gd name="T2" fmla="*/ 378 w 392"/>
                    <a:gd name="T3" fmla="*/ 170 h 170"/>
                    <a:gd name="T4" fmla="*/ 392 w 392"/>
                    <a:gd name="T5" fmla="*/ 133 h 170"/>
                    <a:gd name="T6" fmla="*/ 13 w 392"/>
                    <a:gd name="T7" fmla="*/ 0 h 170"/>
                    <a:gd name="T8" fmla="*/ 0 w 392"/>
                    <a:gd name="T9" fmla="*/ 36 h 170"/>
                  </a:gdLst>
                  <a:ahLst/>
                  <a:cxnLst>
                    <a:cxn ang="0">
                      <a:pos x="T0" y="T1"/>
                    </a:cxn>
                    <a:cxn ang="0">
                      <a:pos x="T2" y="T3"/>
                    </a:cxn>
                    <a:cxn ang="0">
                      <a:pos x="T4" y="T5"/>
                    </a:cxn>
                    <a:cxn ang="0">
                      <a:pos x="T6" y="T7"/>
                    </a:cxn>
                    <a:cxn ang="0">
                      <a:pos x="T8" y="T9"/>
                    </a:cxn>
                  </a:cxnLst>
                  <a:rect l="0" t="0" r="r" b="b"/>
                  <a:pathLst>
                    <a:path w="392" h="170">
                      <a:moveTo>
                        <a:pt x="0" y="36"/>
                      </a:moveTo>
                      <a:lnTo>
                        <a:pt x="378" y="170"/>
                      </a:lnTo>
                      <a:lnTo>
                        <a:pt x="392" y="133"/>
                      </a:lnTo>
                      <a:lnTo>
                        <a:pt x="13" y="0"/>
                      </a:lnTo>
                      <a:lnTo>
                        <a:pt x="0" y="36"/>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56" name="islïḓè">
                  <a:extLst>
                    <a:ext uri="{FF2B5EF4-FFF2-40B4-BE49-F238E27FC236}">
                      <a16:creationId xmlns:a16="http://schemas.microsoft.com/office/drawing/2014/main" id="{F46C05DA-7A3E-4367-9E6B-73E6F80F9DF4}"/>
                    </a:ext>
                  </a:extLst>
                </p:cNvPr>
                <p:cNvSpPr/>
                <p:nvPr/>
              </p:nvSpPr>
              <p:spPr bwMode="auto">
                <a:xfrm>
                  <a:off x="7631113" y="2309813"/>
                  <a:ext cx="198438" cy="200025"/>
                </a:xfrm>
                <a:custGeom>
                  <a:avLst/>
                  <a:gdLst>
                    <a:gd name="T0" fmla="*/ 91 w 125"/>
                    <a:gd name="T1" fmla="*/ 126 h 126"/>
                    <a:gd name="T2" fmla="*/ 0 w 125"/>
                    <a:gd name="T3" fmla="*/ 91 h 126"/>
                    <a:gd name="T4" fmla="*/ 32 w 125"/>
                    <a:gd name="T5" fmla="*/ 0 h 126"/>
                    <a:gd name="T6" fmla="*/ 125 w 125"/>
                    <a:gd name="T7" fmla="*/ 32 h 126"/>
                    <a:gd name="T8" fmla="*/ 91 w 125"/>
                    <a:gd name="T9" fmla="*/ 126 h 126"/>
                    <a:gd name="T10" fmla="*/ 12 w 125"/>
                    <a:gd name="T11" fmla="*/ 86 h 126"/>
                    <a:gd name="T12" fmla="*/ 86 w 125"/>
                    <a:gd name="T13" fmla="*/ 111 h 126"/>
                    <a:gd name="T14" fmla="*/ 111 w 125"/>
                    <a:gd name="T15" fmla="*/ 40 h 126"/>
                    <a:gd name="T16" fmla="*/ 39 w 125"/>
                    <a:gd name="T17" fmla="*/ 12 h 126"/>
                    <a:gd name="T18" fmla="*/ 12 w 125"/>
                    <a:gd name="T1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6">
                      <a:moveTo>
                        <a:pt x="91" y="126"/>
                      </a:moveTo>
                      <a:lnTo>
                        <a:pt x="0" y="91"/>
                      </a:lnTo>
                      <a:lnTo>
                        <a:pt x="32" y="0"/>
                      </a:lnTo>
                      <a:lnTo>
                        <a:pt x="125" y="32"/>
                      </a:lnTo>
                      <a:lnTo>
                        <a:pt x="91" y="126"/>
                      </a:lnTo>
                      <a:close/>
                      <a:moveTo>
                        <a:pt x="12" y="86"/>
                      </a:moveTo>
                      <a:lnTo>
                        <a:pt x="86" y="111"/>
                      </a:lnTo>
                      <a:lnTo>
                        <a:pt x="111" y="40"/>
                      </a:lnTo>
                      <a:lnTo>
                        <a:pt x="39" y="12"/>
                      </a:lnTo>
                      <a:lnTo>
                        <a:pt x="12" y="86"/>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57" name="íŝlíḑê">
                  <a:extLst>
                    <a:ext uri="{FF2B5EF4-FFF2-40B4-BE49-F238E27FC236}">
                      <a16:creationId xmlns:a16="http://schemas.microsoft.com/office/drawing/2014/main" id="{AC50A213-1278-4562-8C01-7B832113C38B}"/>
                    </a:ext>
                  </a:extLst>
                </p:cNvPr>
                <p:cNvSpPr/>
                <p:nvPr/>
              </p:nvSpPr>
              <p:spPr bwMode="auto">
                <a:xfrm>
                  <a:off x="7791451" y="2720976"/>
                  <a:ext cx="622300" cy="269875"/>
                </a:xfrm>
                <a:custGeom>
                  <a:avLst/>
                  <a:gdLst>
                    <a:gd name="T0" fmla="*/ 0 w 392"/>
                    <a:gd name="T1" fmla="*/ 34 h 170"/>
                    <a:gd name="T2" fmla="*/ 379 w 392"/>
                    <a:gd name="T3" fmla="*/ 170 h 170"/>
                    <a:gd name="T4" fmla="*/ 392 w 392"/>
                    <a:gd name="T5" fmla="*/ 133 h 170"/>
                    <a:gd name="T6" fmla="*/ 12 w 392"/>
                    <a:gd name="T7" fmla="*/ 0 h 170"/>
                    <a:gd name="T8" fmla="*/ 0 w 392"/>
                    <a:gd name="T9" fmla="*/ 34 h 170"/>
                  </a:gdLst>
                  <a:ahLst/>
                  <a:cxnLst>
                    <a:cxn ang="0">
                      <a:pos x="T0" y="T1"/>
                    </a:cxn>
                    <a:cxn ang="0">
                      <a:pos x="T2" y="T3"/>
                    </a:cxn>
                    <a:cxn ang="0">
                      <a:pos x="T4" y="T5"/>
                    </a:cxn>
                    <a:cxn ang="0">
                      <a:pos x="T6" y="T7"/>
                    </a:cxn>
                    <a:cxn ang="0">
                      <a:pos x="T8" y="T9"/>
                    </a:cxn>
                  </a:cxnLst>
                  <a:rect l="0" t="0" r="r" b="b"/>
                  <a:pathLst>
                    <a:path w="392" h="170">
                      <a:moveTo>
                        <a:pt x="0" y="34"/>
                      </a:moveTo>
                      <a:lnTo>
                        <a:pt x="379" y="170"/>
                      </a:lnTo>
                      <a:lnTo>
                        <a:pt x="392" y="133"/>
                      </a:lnTo>
                      <a:lnTo>
                        <a:pt x="12" y="0"/>
                      </a:lnTo>
                      <a:lnTo>
                        <a:pt x="0" y="34"/>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58" name="ïşḷiḍê">
                  <a:extLst>
                    <a:ext uri="{FF2B5EF4-FFF2-40B4-BE49-F238E27FC236}">
                      <a16:creationId xmlns:a16="http://schemas.microsoft.com/office/drawing/2014/main" id="{7CD81CBF-2015-4AC2-B3FF-11642BB03233}"/>
                    </a:ext>
                  </a:extLst>
                </p:cNvPr>
                <p:cNvSpPr/>
                <p:nvPr/>
              </p:nvSpPr>
              <p:spPr bwMode="auto">
                <a:xfrm>
                  <a:off x="7524751" y="2595563"/>
                  <a:ext cx="200025" cy="200025"/>
                </a:xfrm>
                <a:custGeom>
                  <a:avLst/>
                  <a:gdLst>
                    <a:gd name="T0" fmla="*/ 91 w 126"/>
                    <a:gd name="T1" fmla="*/ 126 h 126"/>
                    <a:gd name="T2" fmla="*/ 0 w 126"/>
                    <a:gd name="T3" fmla="*/ 94 h 126"/>
                    <a:gd name="T4" fmla="*/ 32 w 126"/>
                    <a:gd name="T5" fmla="*/ 0 h 126"/>
                    <a:gd name="T6" fmla="*/ 126 w 126"/>
                    <a:gd name="T7" fmla="*/ 35 h 126"/>
                    <a:gd name="T8" fmla="*/ 91 w 126"/>
                    <a:gd name="T9" fmla="*/ 126 h 126"/>
                    <a:gd name="T10" fmla="*/ 12 w 126"/>
                    <a:gd name="T11" fmla="*/ 86 h 126"/>
                    <a:gd name="T12" fmla="*/ 86 w 126"/>
                    <a:gd name="T13" fmla="*/ 113 h 126"/>
                    <a:gd name="T14" fmla="*/ 111 w 126"/>
                    <a:gd name="T15" fmla="*/ 42 h 126"/>
                    <a:gd name="T16" fmla="*/ 39 w 126"/>
                    <a:gd name="T17" fmla="*/ 15 h 126"/>
                    <a:gd name="T18" fmla="*/ 12 w 126"/>
                    <a:gd name="T19" fmla="*/ 8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91" y="126"/>
                      </a:moveTo>
                      <a:lnTo>
                        <a:pt x="0" y="94"/>
                      </a:lnTo>
                      <a:lnTo>
                        <a:pt x="32" y="0"/>
                      </a:lnTo>
                      <a:lnTo>
                        <a:pt x="126" y="35"/>
                      </a:lnTo>
                      <a:lnTo>
                        <a:pt x="91" y="126"/>
                      </a:lnTo>
                      <a:close/>
                      <a:moveTo>
                        <a:pt x="12" y="86"/>
                      </a:moveTo>
                      <a:lnTo>
                        <a:pt x="86" y="113"/>
                      </a:lnTo>
                      <a:lnTo>
                        <a:pt x="111" y="42"/>
                      </a:lnTo>
                      <a:lnTo>
                        <a:pt x="39" y="15"/>
                      </a:lnTo>
                      <a:lnTo>
                        <a:pt x="12" y="86"/>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59" name="íṥḷïḑê">
                  <a:extLst>
                    <a:ext uri="{FF2B5EF4-FFF2-40B4-BE49-F238E27FC236}">
                      <a16:creationId xmlns:a16="http://schemas.microsoft.com/office/drawing/2014/main" id="{5BBE1D1D-7B30-4D80-82E4-8C9B124595E7}"/>
                    </a:ext>
                  </a:extLst>
                </p:cNvPr>
                <p:cNvSpPr/>
                <p:nvPr/>
              </p:nvSpPr>
              <p:spPr bwMode="auto">
                <a:xfrm>
                  <a:off x="7685088" y="3006726"/>
                  <a:ext cx="622300" cy="269875"/>
                </a:xfrm>
                <a:custGeom>
                  <a:avLst/>
                  <a:gdLst>
                    <a:gd name="T0" fmla="*/ 0 w 392"/>
                    <a:gd name="T1" fmla="*/ 37 h 170"/>
                    <a:gd name="T2" fmla="*/ 380 w 392"/>
                    <a:gd name="T3" fmla="*/ 170 h 170"/>
                    <a:gd name="T4" fmla="*/ 392 w 392"/>
                    <a:gd name="T5" fmla="*/ 135 h 170"/>
                    <a:gd name="T6" fmla="*/ 12 w 392"/>
                    <a:gd name="T7" fmla="*/ 0 h 170"/>
                    <a:gd name="T8" fmla="*/ 0 w 392"/>
                    <a:gd name="T9" fmla="*/ 37 h 170"/>
                  </a:gdLst>
                  <a:ahLst/>
                  <a:cxnLst>
                    <a:cxn ang="0">
                      <a:pos x="T0" y="T1"/>
                    </a:cxn>
                    <a:cxn ang="0">
                      <a:pos x="T2" y="T3"/>
                    </a:cxn>
                    <a:cxn ang="0">
                      <a:pos x="T4" y="T5"/>
                    </a:cxn>
                    <a:cxn ang="0">
                      <a:pos x="T6" y="T7"/>
                    </a:cxn>
                    <a:cxn ang="0">
                      <a:pos x="T8" y="T9"/>
                    </a:cxn>
                  </a:cxnLst>
                  <a:rect l="0" t="0" r="r" b="b"/>
                  <a:pathLst>
                    <a:path w="392" h="170">
                      <a:moveTo>
                        <a:pt x="0" y="37"/>
                      </a:moveTo>
                      <a:lnTo>
                        <a:pt x="380" y="170"/>
                      </a:lnTo>
                      <a:lnTo>
                        <a:pt x="392" y="135"/>
                      </a:lnTo>
                      <a:lnTo>
                        <a:pt x="12" y="0"/>
                      </a:lnTo>
                      <a:lnTo>
                        <a:pt x="0" y="37"/>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60" name="ïŝḷíḋê">
                  <a:extLst>
                    <a:ext uri="{FF2B5EF4-FFF2-40B4-BE49-F238E27FC236}">
                      <a16:creationId xmlns:a16="http://schemas.microsoft.com/office/drawing/2014/main" id="{B75E14DB-917D-4636-A328-B7CA0900F4D9}"/>
                    </a:ext>
                  </a:extLst>
                </p:cNvPr>
                <p:cNvSpPr/>
                <p:nvPr/>
              </p:nvSpPr>
              <p:spPr bwMode="auto">
                <a:xfrm>
                  <a:off x="7418388" y="2884488"/>
                  <a:ext cx="200025" cy="200025"/>
                </a:xfrm>
                <a:custGeom>
                  <a:avLst/>
                  <a:gdLst>
                    <a:gd name="T0" fmla="*/ 92 w 126"/>
                    <a:gd name="T1" fmla="*/ 126 h 126"/>
                    <a:gd name="T2" fmla="*/ 0 w 126"/>
                    <a:gd name="T3" fmla="*/ 92 h 126"/>
                    <a:gd name="T4" fmla="*/ 35 w 126"/>
                    <a:gd name="T5" fmla="*/ 0 h 126"/>
                    <a:gd name="T6" fmla="*/ 126 w 126"/>
                    <a:gd name="T7" fmla="*/ 35 h 126"/>
                    <a:gd name="T8" fmla="*/ 92 w 126"/>
                    <a:gd name="T9" fmla="*/ 126 h 126"/>
                    <a:gd name="T10" fmla="*/ 13 w 126"/>
                    <a:gd name="T11" fmla="*/ 87 h 126"/>
                    <a:gd name="T12" fmla="*/ 87 w 126"/>
                    <a:gd name="T13" fmla="*/ 114 h 126"/>
                    <a:gd name="T14" fmla="*/ 114 w 126"/>
                    <a:gd name="T15" fmla="*/ 40 h 126"/>
                    <a:gd name="T16" fmla="*/ 40 w 126"/>
                    <a:gd name="T17" fmla="*/ 13 h 126"/>
                    <a:gd name="T18" fmla="*/ 13 w 126"/>
                    <a:gd name="T19" fmla="*/ 8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126">
                      <a:moveTo>
                        <a:pt x="92" y="126"/>
                      </a:moveTo>
                      <a:lnTo>
                        <a:pt x="0" y="92"/>
                      </a:lnTo>
                      <a:lnTo>
                        <a:pt x="35" y="0"/>
                      </a:lnTo>
                      <a:lnTo>
                        <a:pt x="126" y="35"/>
                      </a:lnTo>
                      <a:lnTo>
                        <a:pt x="92" y="126"/>
                      </a:lnTo>
                      <a:close/>
                      <a:moveTo>
                        <a:pt x="13" y="87"/>
                      </a:moveTo>
                      <a:lnTo>
                        <a:pt x="87" y="114"/>
                      </a:lnTo>
                      <a:lnTo>
                        <a:pt x="114" y="40"/>
                      </a:lnTo>
                      <a:lnTo>
                        <a:pt x="40" y="13"/>
                      </a:lnTo>
                      <a:lnTo>
                        <a:pt x="13" y="87"/>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61" name="işlîďê">
                  <a:extLst>
                    <a:ext uri="{FF2B5EF4-FFF2-40B4-BE49-F238E27FC236}">
                      <a16:creationId xmlns:a16="http://schemas.microsoft.com/office/drawing/2014/main" id="{DE8A21E1-67E5-43CF-91CB-68CE24045DFA}"/>
                    </a:ext>
                  </a:extLst>
                </p:cNvPr>
                <p:cNvSpPr/>
                <p:nvPr/>
              </p:nvSpPr>
              <p:spPr bwMode="auto">
                <a:xfrm>
                  <a:off x="7767638" y="2020888"/>
                  <a:ext cx="269875" cy="139700"/>
                </a:xfrm>
                <a:custGeom>
                  <a:avLst/>
                  <a:gdLst>
                    <a:gd name="T0" fmla="*/ 30 w 170"/>
                    <a:gd name="T1" fmla="*/ 88 h 88"/>
                    <a:gd name="T2" fmla="*/ 0 w 170"/>
                    <a:gd name="T3" fmla="*/ 5 h 88"/>
                    <a:gd name="T4" fmla="*/ 15 w 170"/>
                    <a:gd name="T5" fmla="*/ 0 h 88"/>
                    <a:gd name="T6" fmla="*/ 39 w 170"/>
                    <a:gd name="T7" fmla="*/ 66 h 88"/>
                    <a:gd name="T8" fmla="*/ 165 w 170"/>
                    <a:gd name="T9" fmla="*/ 14 h 88"/>
                    <a:gd name="T10" fmla="*/ 170 w 170"/>
                    <a:gd name="T11" fmla="*/ 32 h 88"/>
                    <a:gd name="T12" fmla="*/ 30 w 170"/>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70" h="88">
                      <a:moveTo>
                        <a:pt x="30" y="88"/>
                      </a:moveTo>
                      <a:lnTo>
                        <a:pt x="0" y="5"/>
                      </a:lnTo>
                      <a:lnTo>
                        <a:pt x="15" y="0"/>
                      </a:lnTo>
                      <a:lnTo>
                        <a:pt x="39" y="66"/>
                      </a:lnTo>
                      <a:lnTo>
                        <a:pt x="165" y="14"/>
                      </a:lnTo>
                      <a:lnTo>
                        <a:pt x="170" y="32"/>
                      </a:lnTo>
                      <a:lnTo>
                        <a:pt x="30" y="88"/>
                      </a:lnTo>
                      <a:close/>
                    </a:path>
                  </a:pathLst>
                </a:custGeom>
                <a:solidFill>
                  <a:srgbClr val="34BF6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2" name="i$1ïḋê">
                  <a:extLst>
                    <a:ext uri="{FF2B5EF4-FFF2-40B4-BE49-F238E27FC236}">
                      <a16:creationId xmlns:a16="http://schemas.microsoft.com/office/drawing/2014/main" id="{DE557471-A77E-4D33-B0E2-B7EAE176394D}"/>
                    </a:ext>
                  </a:extLst>
                </p:cNvPr>
                <p:cNvSpPr/>
                <p:nvPr/>
              </p:nvSpPr>
              <p:spPr bwMode="auto">
                <a:xfrm>
                  <a:off x="7661276" y="2306638"/>
                  <a:ext cx="274638" cy="139700"/>
                </a:xfrm>
                <a:custGeom>
                  <a:avLst/>
                  <a:gdLst>
                    <a:gd name="T0" fmla="*/ 30 w 173"/>
                    <a:gd name="T1" fmla="*/ 88 h 88"/>
                    <a:gd name="T2" fmla="*/ 0 w 173"/>
                    <a:gd name="T3" fmla="*/ 5 h 88"/>
                    <a:gd name="T4" fmla="*/ 18 w 173"/>
                    <a:gd name="T5" fmla="*/ 0 h 88"/>
                    <a:gd name="T6" fmla="*/ 40 w 173"/>
                    <a:gd name="T7" fmla="*/ 66 h 88"/>
                    <a:gd name="T8" fmla="*/ 166 w 173"/>
                    <a:gd name="T9" fmla="*/ 17 h 88"/>
                    <a:gd name="T10" fmla="*/ 173 w 173"/>
                    <a:gd name="T11" fmla="*/ 32 h 88"/>
                    <a:gd name="T12" fmla="*/ 30 w 173"/>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173" h="88">
                      <a:moveTo>
                        <a:pt x="30" y="88"/>
                      </a:moveTo>
                      <a:lnTo>
                        <a:pt x="0" y="5"/>
                      </a:lnTo>
                      <a:lnTo>
                        <a:pt x="18" y="0"/>
                      </a:lnTo>
                      <a:lnTo>
                        <a:pt x="40" y="66"/>
                      </a:lnTo>
                      <a:lnTo>
                        <a:pt x="166" y="17"/>
                      </a:lnTo>
                      <a:lnTo>
                        <a:pt x="173" y="32"/>
                      </a:lnTo>
                      <a:lnTo>
                        <a:pt x="30" y="88"/>
                      </a:lnTo>
                      <a:close/>
                    </a:path>
                  </a:pathLst>
                </a:custGeom>
                <a:solidFill>
                  <a:srgbClr val="34BF6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3" name="ïSḻide">
                  <a:extLst>
                    <a:ext uri="{FF2B5EF4-FFF2-40B4-BE49-F238E27FC236}">
                      <a16:creationId xmlns:a16="http://schemas.microsoft.com/office/drawing/2014/main" id="{AC644775-D810-4C2D-9928-181B20E33D70}"/>
                    </a:ext>
                  </a:extLst>
                </p:cNvPr>
                <p:cNvSpPr/>
                <p:nvPr/>
              </p:nvSpPr>
              <p:spPr bwMode="auto">
                <a:xfrm>
                  <a:off x="7556501" y="2595563"/>
                  <a:ext cx="273050" cy="136525"/>
                </a:xfrm>
                <a:custGeom>
                  <a:avLst/>
                  <a:gdLst>
                    <a:gd name="T0" fmla="*/ 29 w 172"/>
                    <a:gd name="T1" fmla="*/ 86 h 86"/>
                    <a:gd name="T2" fmla="*/ 0 w 172"/>
                    <a:gd name="T3" fmla="*/ 5 h 86"/>
                    <a:gd name="T4" fmla="*/ 17 w 172"/>
                    <a:gd name="T5" fmla="*/ 0 h 86"/>
                    <a:gd name="T6" fmla="*/ 39 w 172"/>
                    <a:gd name="T7" fmla="*/ 64 h 86"/>
                    <a:gd name="T8" fmla="*/ 165 w 172"/>
                    <a:gd name="T9" fmla="*/ 15 h 86"/>
                    <a:gd name="T10" fmla="*/ 172 w 172"/>
                    <a:gd name="T11" fmla="*/ 30 h 86"/>
                    <a:gd name="T12" fmla="*/ 29 w 172"/>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72" h="86">
                      <a:moveTo>
                        <a:pt x="29" y="86"/>
                      </a:moveTo>
                      <a:lnTo>
                        <a:pt x="0" y="5"/>
                      </a:lnTo>
                      <a:lnTo>
                        <a:pt x="17" y="0"/>
                      </a:lnTo>
                      <a:lnTo>
                        <a:pt x="39" y="64"/>
                      </a:lnTo>
                      <a:lnTo>
                        <a:pt x="165" y="15"/>
                      </a:lnTo>
                      <a:lnTo>
                        <a:pt x="172" y="30"/>
                      </a:lnTo>
                      <a:lnTo>
                        <a:pt x="29" y="86"/>
                      </a:lnTo>
                      <a:close/>
                    </a:path>
                  </a:pathLst>
                </a:custGeom>
                <a:solidFill>
                  <a:srgbClr val="34BF6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4" name="íSľïďè">
                  <a:extLst>
                    <a:ext uri="{FF2B5EF4-FFF2-40B4-BE49-F238E27FC236}">
                      <a16:creationId xmlns:a16="http://schemas.microsoft.com/office/drawing/2014/main" id="{D4DF7240-204C-41CD-8A72-E89B285BA0A8}"/>
                    </a:ext>
                  </a:extLst>
                </p:cNvPr>
                <p:cNvSpPr/>
                <p:nvPr/>
              </p:nvSpPr>
              <p:spPr bwMode="auto">
                <a:xfrm>
                  <a:off x="7454901" y="2881313"/>
                  <a:ext cx="269875" cy="141288"/>
                </a:xfrm>
                <a:custGeom>
                  <a:avLst/>
                  <a:gdLst>
                    <a:gd name="T0" fmla="*/ 29 w 170"/>
                    <a:gd name="T1" fmla="*/ 89 h 89"/>
                    <a:gd name="T2" fmla="*/ 0 w 170"/>
                    <a:gd name="T3" fmla="*/ 5 h 89"/>
                    <a:gd name="T4" fmla="*/ 14 w 170"/>
                    <a:gd name="T5" fmla="*/ 0 h 89"/>
                    <a:gd name="T6" fmla="*/ 39 w 170"/>
                    <a:gd name="T7" fmla="*/ 67 h 89"/>
                    <a:gd name="T8" fmla="*/ 165 w 170"/>
                    <a:gd name="T9" fmla="*/ 15 h 89"/>
                    <a:gd name="T10" fmla="*/ 170 w 170"/>
                    <a:gd name="T11" fmla="*/ 32 h 89"/>
                    <a:gd name="T12" fmla="*/ 29 w 17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70" h="89">
                      <a:moveTo>
                        <a:pt x="29" y="89"/>
                      </a:moveTo>
                      <a:lnTo>
                        <a:pt x="0" y="5"/>
                      </a:lnTo>
                      <a:lnTo>
                        <a:pt x="14" y="0"/>
                      </a:lnTo>
                      <a:lnTo>
                        <a:pt x="39" y="67"/>
                      </a:lnTo>
                      <a:lnTo>
                        <a:pt x="165" y="15"/>
                      </a:lnTo>
                      <a:lnTo>
                        <a:pt x="170" y="32"/>
                      </a:lnTo>
                      <a:lnTo>
                        <a:pt x="29" y="89"/>
                      </a:lnTo>
                      <a:close/>
                    </a:path>
                  </a:pathLst>
                </a:custGeom>
                <a:solidFill>
                  <a:srgbClr val="34BF6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5" name="íṡľíďe">
                  <a:extLst>
                    <a:ext uri="{FF2B5EF4-FFF2-40B4-BE49-F238E27FC236}">
                      <a16:creationId xmlns:a16="http://schemas.microsoft.com/office/drawing/2014/main" id="{FFE08751-A758-432E-A4CD-1EB79E4D4DF9}"/>
                    </a:ext>
                  </a:extLst>
                </p:cNvPr>
                <p:cNvSpPr/>
                <p:nvPr/>
              </p:nvSpPr>
              <p:spPr bwMode="auto">
                <a:xfrm>
                  <a:off x="4662488" y="2943226"/>
                  <a:ext cx="3848100" cy="2524125"/>
                </a:xfrm>
                <a:custGeom>
                  <a:avLst/>
                  <a:gdLst>
                    <a:gd name="T0" fmla="*/ 950 w 983"/>
                    <a:gd name="T1" fmla="*/ 645 h 645"/>
                    <a:gd name="T2" fmla="*/ 33 w 983"/>
                    <a:gd name="T3" fmla="*/ 645 h 645"/>
                    <a:gd name="T4" fmla="*/ 0 w 983"/>
                    <a:gd name="T5" fmla="*/ 612 h 645"/>
                    <a:gd name="T6" fmla="*/ 0 w 983"/>
                    <a:gd name="T7" fmla="*/ 33 h 645"/>
                    <a:gd name="T8" fmla="*/ 33 w 983"/>
                    <a:gd name="T9" fmla="*/ 0 h 645"/>
                    <a:gd name="T10" fmla="*/ 950 w 983"/>
                    <a:gd name="T11" fmla="*/ 0 h 645"/>
                    <a:gd name="T12" fmla="*/ 983 w 983"/>
                    <a:gd name="T13" fmla="*/ 33 h 645"/>
                    <a:gd name="T14" fmla="*/ 983 w 983"/>
                    <a:gd name="T15" fmla="*/ 612 h 645"/>
                    <a:gd name="T16" fmla="*/ 950 w 983"/>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3" h="645">
                      <a:moveTo>
                        <a:pt x="950" y="645"/>
                      </a:moveTo>
                      <a:cubicBezTo>
                        <a:pt x="33" y="645"/>
                        <a:pt x="33" y="645"/>
                        <a:pt x="33" y="645"/>
                      </a:cubicBezTo>
                      <a:cubicBezTo>
                        <a:pt x="15" y="645"/>
                        <a:pt x="0" y="630"/>
                        <a:pt x="0" y="612"/>
                      </a:cubicBezTo>
                      <a:cubicBezTo>
                        <a:pt x="0" y="33"/>
                        <a:pt x="0" y="33"/>
                        <a:pt x="0" y="33"/>
                      </a:cubicBezTo>
                      <a:cubicBezTo>
                        <a:pt x="0" y="15"/>
                        <a:pt x="15" y="0"/>
                        <a:pt x="33" y="0"/>
                      </a:cubicBezTo>
                      <a:cubicBezTo>
                        <a:pt x="950" y="0"/>
                        <a:pt x="950" y="0"/>
                        <a:pt x="950" y="0"/>
                      </a:cubicBezTo>
                      <a:cubicBezTo>
                        <a:pt x="968" y="0"/>
                        <a:pt x="983" y="15"/>
                        <a:pt x="983" y="33"/>
                      </a:cubicBezTo>
                      <a:cubicBezTo>
                        <a:pt x="983" y="612"/>
                        <a:pt x="983" y="612"/>
                        <a:pt x="983" y="612"/>
                      </a:cubicBezTo>
                      <a:cubicBezTo>
                        <a:pt x="983" y="630"/>
                        <a:pt x="968" y="645"/>
                        <a:pt x="950" y="645"/>
                      </a:cubicBezTo>
                    </a:path>
                  </a:pathLst>
                </a:custGeom>
                <a:solidFill>
                  <a:srgbClr val="30363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66" name="îSľíḋé">
                  <a:extLst>
                    <a:ext uri="{FF2B5EF4-FFF2-40B4-BE49-F238E27FC236}">
                      <a16:creationId xmlns:a16="http://schemas.microsoft.com/office/drawing/2014/main" id="{AD205FA5-6089-4E00-B949-364E5D2D5267}"/>
                    </a:ext>
                  </a:extLst>
                </p:cNvPr>
                <p:cNvSpPr/>
                <p:nvPr/>
              </p:nvSpPr>
              <p:spPr bwMode="auto">
                <a:xfrm>
                  <a:off x="4764088" y="3068638"/>
                  <a:ext cx="3644900" cy="2273300"/>
                </a:xfrm>
                <a:custGeom>
                  <a:avLst/>
                  <a:gdLst>
                    <a:gd name="T0" fmla="*/ 900 w 931"/>
                    <a:gd name="T1" fmla="*/ 581 h 581"/>
                    <a:gd name="T2" fmla="*/ 32 w 931"/>
                    <a:gd name="T3" fmla="*/ 581 h 581"/>
                    <a:gd name="T4" fmla="*/ 0 w 931"/>
                    <a:gd name="T5" fmla="*/ 551 h 581"/>
                    <a:gd name="T6" fmla="*/ 0 w 931"/>
                    <a:gd name="T7" fmla="*/ 29 h 581"/>
                    <a:gd name="T8" fmla="*/ 32 w 931"/>
                    <a:gd name="T9" fmla="*/ 0 h 581"/>
                    <a:gd name="T10" fmla="*/ 900 w 931"/>
                    <a:gd name="T11" fmla="*/ 0 h 581"/>
                    <a:gd name="T12" fmla="*/ 931 w 931"/>
                    <a:gd name="T13" fmla="*/ 29 h 581"/>
                    <a:gd name="T14" fmla="*/ 931 w 931"/>
                    <a:gd name="T15" fmla="*/ 551 h 581"/>
                    <a:gd name="T16" fmla="*/ 900 w 931"/>
                    <a:gd name="T17"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581">
                      <a:moveTo>
                        <a:pt x="900" y="581"/>
                      </a:moveTo>
                      <a:cubicBezTo>
                        <a:pt x="32" y="581"/>
                        <a:pt x="32" y="581"/>
                        <a:pt x="32" y="581"/>
                      </a:cubicBezTo>
                      <a:cubicBezTo>
                        <a:pt x="14" y="581"/>
                        <a:pt x="0" y="568"/>
                        <a:pt x="0" y="551"/>
                      </a:cubicBezTo>
                      <a:cubicBezTo>
                        <a:pt x="0" y="29"/>
                        <a:pt x="0" y="29"/>
                        <a:pt x="0" y="29"/>
                      </a:cubicBezTo>
                      <a:cubicBezTo>
                        <a:pt x="0" y="13"/>
                        <a:pt x="14" y="0"/>
                        <a:pt x="32" y="0"/>
                      </a:cubicBezTo>
                      <a:cubicBezTo>
                        <a:pt x="900" y="0"/>
                        <a:pt x="900" y="0"/>
                        <a:pt x="900" y="0"/>
                      </a:cubicBezTo>
                      <a:cubicBezTo>
                        <a:pt x="917" y="0"/>
                        <a:pt x="931" y="13"/>
                        <a:pt x="931" y="29"/>
                      </a:cubicBezTo>
                      <a:cubicBezTo>
                        <a:pt x="931" y="551"/>
                        <a:pt x="931" y="551"/>
                        <a:pt x="931" y="551"/>
                      </a:cubicBezTo>
                      <a:cubicBezTo>
                        <a:pt x="931" y="568"/>
                        <a:pt x="917" y="581"/>
                        <a:pt x="900" y="581"/>
                      </a:cubicBezTo>
                    </a:path>
                  </a:pathLst>
                </a:custGeom>
                <a:solidFill>
                  <a:srgbClr val="55B6F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67" name="îṡ1ïdè">
                  <a:extLst>
                    <a:ext uri="{FF2B5EF4-FFF2-40B4-BE49-F238E27FC236}">
                      <a16:creationId xmlns:a16="http://schemas.microsoft.com/office/drawing/2014/main" id="{876EE186-FFF2-472A-B877-17847FDF2EA4}"/>
                    </a:ext>
                  </a:extLst>
                </p:cNvPr>
                <p:cNvSpPr/>
                <p:nvPr/>
              </p:nvSpPr>
              <p:spPr bwMode="auto">
                <a:xfrm>
                  <a:off x="4397376" y="5397501"/>
                  <a:ext cx="4379913" cy="160338"/>
                </a:xfrm>
                <a:prstGeom prst="rect">
                  <a:avLst/>
                </a:prstGeom>
                <a:solidFill>
                  <a:srgbClr val="ECF0F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68" name="ïṣlïďé">
                  <a:extLst>
                    <a:ext uri="{FF2B5EF4-FFF2-40B4-BE49-F238E27FC236}">
                      <a16:creationId xmlns:a16="http://schemas.microsoft.com/office/drawing/2014/main" id="{DDD914DC-C1A5-4C3B-8782-1F3C0EA863AD}"/>
                    </a:ext>
                  </a:extLst>
                </p:cNvPr>
                <p:cNvSpPr/>
                <p:nvPr/>
              </p:nvSpPr>
              <p:spPr bwMode="auto">
                <a:xfrm>
                  <a:off x="4397376" y="5557838"/>
                  <a:ext cx="4379913" cy="106363"/>
                </a:xfrm>
                <a:custGeom>
                  <a:avLst/>
                  <a:gdLst>
                    <a:gd name="T0" fmla="*/ 560 w 1119"/>
                    <a:gd name="T1" fmla="*/ 0 h 27"/>
                    <a:gd name="T2" fmla="*/ 526 w 1119"/>
                    <a:gd name="T3" fmla="*/ 0 h 27"/>
                    <a:gd name="T4" fmla="*/ 0 w 1119"/>
                    <a:gd name="T5" fmla="*/ 0 h 27"/>
                    <a:gd name="T6" fmla="*/ 23 w 1119"/>
                    <a:gd name="T7" fmla="*/ 7 h 27"/>
                    <a:gd name="T8" fmla="*/ 157 w 1119"/>
                    <a:gd name="T9" fmla="*/ 27 h 27"/>
                    <a:gd name="T10" fmla="*/ 526 w 1119"/>
                    <a:gd name="T11" fmla="*/ 27 h 27"/>
                    <a:gd name="T12" fmla="*/ 560 w 1119"/>
                    <a:gd name="T13" fmla="*/ 27 h 27"/>
                    <a:gd name="T14" fmla="*/ 962 w 1119"/>
                    <a:gd name="T15" fmla="*/ 27 h 27"/>
                    <a:gd name="T16" fmla="*/ 1096 w 1119"/>
                    <a:gd name="T17" fmla="*/ 7 h 27"/>
                    <a:gd name="T18" fmla="*/ 1119 w 1119"/>
                    <a:gd name="T19" fmla="*/ 0 h 27"/>
                    <a:gd name="T20" fmla="*/ 560 w 1119"/>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9" h="27">
                      <a:moveTo>
                        <a:pt x="560" y="0"/>
                      </a:moveTo>
                      <a:cubicBezTo>
                        <a:pt x="526" y="0"/>
                        <a:pt x="526" y="0"/>
                        <a:pt x="526" y="0"/>
                      </a:cubicBezTo>
                      <a:cubicBezTo>
                        <a:pt x="0" y="0"/>
                        <a:pt x="0" y="0"/>
                        <a:pt x="0" y="0"/>
                      </a:cubicBezTo>
                      <a:cubicBezTo>
                        <a:pt x="23" y="7"/>
                        <a:pt x="23" y="7"/>
                        <a:pt x="23" y="7"/>
                      </a:cubicBezTo>
                      <a:cubicBezTo>
                        <a:pt x="63" y="20"/>
                        <a:pt x="110" y="27"/>
                        <a:pt x="157" y="27"/>
                      </a:cubicBezTo>
                      <a:cubicBezTo>
                        <a:pt x="526" y="27"/>
                        <a:pt x="526" y="27"/>
                        <a:pt x="526" y="27"/>
                      </a:cubicBezTo>
                      <a:cubicBezTo>
                        <a:pt x="560" y="27"/>
                        <a:pt x="560" y="27"/>
                        <a:pt x="560" y="27"/>
                      </a:cubicBezTo>
                      <a:cubicBezTo>
                        <a:pt x="962" y="27"/>
                        <a:pt x="962" y="27"/>
                        <a:pt x="962" y="27"/>
                      </a:cubicBezTo>
                      <a:cubicBezTo>
                        <a:pt x="1010" y="27"/>
                        <a:pt x="1056" y="20"/>
                        <a:pt x="1096" y="7"/>
                      </a:cubicBezTo>
                      <a:cubicBezTo>
                        <a:pt x="1119" y="0"/>
                        <a:pt x="1119" y="0"/>
                        <a:pt x="1119" y="0"/>
                      </a:cubicBezTo>
                      <a:lnTo>
                        <a:pt x="560" y="0"/>
                      </a:lnTo>
                      <a:close/>
                    </a:path>
                  </a:pathLst>
                </a:custGeom>
                <a:solidFill>
                  <a:srgbClr val="CCCDC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9" name="ïŝḷîďè">
                  <a:extLst>
                    <a:ext uri="{FF2B5EF4-FFF2-40B4-BE49-F238E27FC236}">
                      <a16:creationId xmlns:a16="http://schemas.microsoft.com/office/drawing/2014/main" id="{7E4B1CFE-7779-44A4-A153-76A103D9C768}"/>
                    </a:ext>
                  </a:extLst>
                </p:cNvPr>
                <p:cNvSpPr/>
                <p:nvPr/>
              </p:nvSpPr>
              <p:spPr bwMode="auto">
                <a:xfrm>
                  <a:off x="5011738" y="2709863"/>
                  <a:ext cx="3151188" cy="2632075"/>
                </a:xfrm>
                <a:prstGeom prst="rect">
                  <a:avLst/>
                </a:prstGeom>
                <a:solidFill>
                  <a:srgbClr val="F9FA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70" name="îś1ïḋé">
                  <a:extLst>
                    <a:ext uri="{FF2B5EF4-FFF2-40B4-BE49-F238E27FC236}">
                      <a16:creationId xmlns:a16="http://schemas.microsoft.com/office/drawing/2014/main" id="{4CE5B26A-5E87-4BFD-9FF0-018FA485B099}"/>
                    </a:ext>
                  </a:extLst>
                </p:cNvPr>
                <p:cNvSpPr/>
                <p:nvPr/>
              </p:nvSpPr>
              <p:spPr bwMode="auto">
                <a:xfrm>
                  <a:off x="5011738" y="2709863"/>
                  <a:ext cx="3151188" cy="263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71" name="íṥliḋe">
                  <a:extLst>
                    <a:ext uri="{FF2B5EF4-FFF2-40B4-BE49-F238E27FC236}">
                      <a16:creationId xmlns:a16="http://schemas.microsoft.com/office/drawing/2014/main" id="{D79954BE-F658-4411-9C7C-7C91CD44784B}"/>
                    </a:ext>
                  </a:extLst>
                </p:cNvPr>
                <p:cNvSpPr/>
                <p:nvPr/>
              </p:nvSpPr>
              <p:spPr bwMode="auto">
                <a:xfrm>
                  <a:off x="5011738" y="2709863"/>
                  <a:ext cx="3151188" cy="238125"/>
                </a:xfrm>
                <a:prstGeom prst="rect">
                  <a:avLst/>
                </a:prstGeom>
                <a:solidFill>
                  <a:srgbClr val="40404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55000" lnSpcReduction="20000"/>
                </a:bodyPr>
                <a:lstStyle/>
                <a:p>
                  <a:pPr algn="ctr"/>
                  <a:endParaRPr/>
                </a:p>
              </p:txBody>
            </p:sp>
            <p:sp>
              <p:nvSpPr>
                <p:cNvPr id="72" name="íŝḷiḑé">
                  <a:extLst>
                    <a:ext uri="{FF2B5EF4-FFF2-40B4-BE49-F238E27FC236}">
                      <a16:creationId xmlns:a16="http://schemas.microsoft.com/office/drawing/2014/main" id="{1DB81900-A533-4E8D-96F5-B4D8CF8409EB}"/>
                    </a:ext>
                  </a:extLst>
                </p:cNvPr>
                <p:cNvSpPr/>
                <p:nvPr/>
              </p:nvSpPr>
              <p:spPr bwMode="auto">
                <a:xfrm>
                  <a:off x="7693026" y="2779713"/>
                  <a:ext cx="82550" cy="82550"/>
                </a:xfrm>
                <a:prstGeom prst="ellipse">
                  <a:avLst/>
                </a:pr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3" name="iṥḻiďè">
                  <a:extLst>
                    <a:ext uri="{FF2B5EF4-FFF2-40B4-BE49-F238E27FC236}">
                      <a16:creationId xmlns:a16="http://schemas.microsoft.com/office/drawing/2014/main" id="{01D156F6-4EF7-4831-957A-ED3781AF52BD}"/>
                    </a:ext>
                  </a:extLst>
                </p:cNvPr>
                <p:cNvSpPr/>
                <p:nvPr/>
              </p:nvSpPr>
              <p:spPr bwMode="auto">
                <a:xfrm>
                  <a:off x="7866063" y="2779713"/>
                  <a:ext cx="85725" cy="82550"/>
                </a:xfrm>
                <a:prstGeom prst="ellipse">
                  <a:avLst/>
                </a:prstGeom>
                <a:solidFill>
                  <a:srgbClr val="F0635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4" name="iṡļïḑè">
                  <a:extLst>
                    <a:ext uri="{FF2B5EF4-FFF2-40B4-BE49-F238E27FC236}">
                      <a16:creationId xmlns:a16="http://schemas.microsoft.com/office/drawing/2014/main" id="{8316E753-A566-446F-942E-82C18707912C}"/>
                    </a:ext>
                  </a:extLst>
                </p:cNvPr>
                <p:cNvSpPr/>
                <p:nvPr/>
              </p:nvSpPr>
              <p:spPr bwMode="auto">
                <a:xfrm>
                  <a:off x="7521576" y="2779713"/>
                  <a:ext cx="80963" cy="82550"/>
                </a:xfrm>
                <a:prstGeom prst="ellipse">
                  <a:avLst/>
                </a:pr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5" name="íš1iḓê">
                  <a:extLst>
                    <a:ext uri="{FF2B5EF4-FFF2-40B4-BE49-F238E27FC236}">
                      <a16:creationId xmlns:a16="http://schemas.microsoft.com/office/drawing/2014/main" id="{07BC4229-A0AE-45FE-B3F7-19BAB8183264}"/>
                    </a:ext>
                  </a:extLst>
                </p:cNvPr>
                <p:cNvSpPr/>
                <p:nvPr/>
              </p:nvSpPr>
              <p:spPr bwMode="auto">
                <a:xfrm>
                  <a:off x="6296026" y="3311526"/>
                  <a:ext cx="582613" cy="582613"/>
                </a:xfrm>
                <a:prstGeom prst="ellipse">
                  <a:avLst/>
                </a:prstGeom>
                <a:solidFill>
                  <a:srgbClr val="F3F1E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76" name="îṧ1îḑé">
                  <a:extLst>
                    <a:ext uri="{FF2B5EF4-FFF2-40B4-BE49-F238E27FC236}">
                      <a16:creationId xmlns:a16="http://schemas.microsoft.com/office/drawing/2014/main" id="{460036BC-CE23-4A0F-8C55-31A0921BF686}"/>
                    </a:ext>
                  </a:extLst>
                </p:cNvPr>
                <p:cNvSpPr/>
                <p:nvPr/>
              </p:nvSpPr>
              <p:spPr bwMode="auto">
                <a:xfrm>
                  <a:off x="6440488" y="3741738"/>
                  <a:ext cx="296863" cy="165100"/>
                </a:xfrm>
                <a:custGeom>
                  <a:avLst/>
                  <a:gdLst>
                    <a:gd name="T0" fmla="*/ 48 w 76"/>
                    <a:gd name="T1" fmla="*/ 1 h 42"/>
                    <a:gd name="T2" fmla="*/ 60 w 76"/>
                    <a:gd name="T3" fmla="*/ 4 h 42"/>
                    <a:gd name="T4" fmla="*/ 76 w 76"/>
                    <a:gd name="T5" fmla="*/ 24 h 42"/>
                    <a:gd name="T6" fmla="*/ 76 w 76"/>
                    <a:gd name="T7" fmla="*/ 42 h 42"/>
                    <a:gd name="T8" fmla="*/ 38 w 76"/>
                    <a:gd name="T9" fmla="*/ 42 h 42"/>
                    <a:gd name="T10" fmla="*/ 0 w 76"/>
                    <a:gd name="T11" fmla="*/ 42 h 42"/>
                    <a:gd name="T12" fmla="*/ 0 w 76"/>
                    <a:gd name="T13" fmla="*/ 24 h 42"/>
                    <a:gd name="T14" fmla="*/ 16 w 76"/>
                    <a:gd name="T15" fmla="*/ 4 h 42"/>
                    <a:gd name="T16" fmla="*/ 27 w 76"/>
                    <a:gd name="T17" fmla="*/ 1 h 42"/>
                    <a:gd name="T18" fmla="*/ 34 w 76"/>
                    <a:gd name="T19" fmla="*/ 0 h 42"/>
                    <a:gd name="T20" fmla="*/ 43 w 76"/>
                    <a:gd name="T21" fmla="*/ 0 h 42"/>
                    <a:gd name="T22" fmla="*/ 48 w 76"/>
                    <a:gd name="T23"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42">
                      <a:moveTo>
                        <a:pt x="48" y="1"/>
                      </a:moveTo>
                      <a:cubicBezTo>
                        <a:pt x="60" y="4"/>
                        <a:pt x="60" y="4"/>
                        <a:pt x="60" y="4"/>
                      </a:cubicBezTo>
                      <a:cubicBezTo>
                        <a:pt x="69" y="6"/>
                        <a:pt x="76" y="14"/>
                        <a:pt x="76" y="24"/>
                      </a:cubicBezTo>
                      <a:cubicBezTo>
                        <a:pt x="76" y="42"/>
                        <a:pt x="76" y="42"/>
                        <a:pt x="76" y="42"/>
                      </a:cubicBezTo>
                      <a:cubicBezTo>
                        <a:pt x="38" y="42"/>
                        <a:pt x="38" y="42"/>
                        <a:pt x="38" y="42"/>
                      </a:cubicBezTo>
                      <a:cubicBezTo>
                        <a:pt x="0" y="42"/>
                        <a:pt x="0" y="42"/>
                        <a:pt x="0" y="42"/>
                      </a:cubicBezTo>
                      <a:cubicBezTo>
                        <a:pt x="0" y="24"/>
                        <a:pt x="0" y="24"/>
                        <a:pt x="0" y="24"/>
                      </a:cubicBezTo>
                      <a:cubicBezTo>
                        <a:pt x="0" y="14"/>
                        <a:pt x="6" y="6"/>
                        <a:pt x="16" y="4"/>
                      </a:cubicBezTo>
                      <a:cubicBezTo>
                        <a:pt x="27" y="1"/>
                        <a:pt x="27" y="1"/>
                        <a:pt x="27" y="1"/>
                      </a:cubicBezTo>
                      <a:cubicBezTo>
                        <a:pt x="34" y="0"/>
                        <a:pt x="34" y="0"/>
                        <a:pt x="34" y="0"/>
                      </a:cubicBezTo>
                      <a:cubicBezTo>
                        <a:pt x="43" y="0"/>
                        <a:pt x="43" y="0"/>
                        <a:pt x="43" y="0"/>
                      </a:cubicBezTo>
                      <a:lnTo>
                        <a:pt x="48" y="1"/>
                      </a:lnTo>
                      <a:close/>
                    </a:path>
                  </a:pathLst>
                </a:custGeom>
                <a:solidFill>
                  <a:srgbClr val="F7D9B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7" name="iṧliḍe">
                  <a:extLst>
                    <a:ext uri="{FF2B5EF4-FFF2-40B4-BE49-F238E27FC236}">
                      <a16:creationId xmlns:a16="http://schemas.microsoft.com/office/drawing/2014/main" id="{C0747DA7-889F-44AB-9C75-0F970B0AD51B}"/>
                    </a:ext>
                  </a:extLst>
                </p:cNvPr>
                <p:cNvSpPr/>
                <p:nvPr/>
              </p:nvSpPr>
              <p:spPr bwMode="auto">
                <a:xfrm>
                  <a:off x="6475413" y="3741738"/>
                  <a:ext cx="227013" cy="165100"/>
                </a:xfrm>
                <a:custGeom>
                  <a:avLst/>
                  <a:gdLst>
                    <a:gd name="T0" fmla="*/ 51 w 58"/>
                    <a:gd name="T1" fmla="*/ 4 h 42"/>
                    <a:gd name="T2" fmla="*/ 39 w 58"/>
                    <a:gd name="T3" fmla="*/ 1 h 42"/>
                    <a:gd name="T4" fmla="*/ 36 w 58"/>
                    <a:gd name="T5" fmla="*/ 0 h 42"/>
                    <a:gd name="T6" fmla="*/ 36 w 58"/>
                    <a:gd name="T7" fmla="*/ 8 h 42"/>
                    <a:gd name="T8" fmla="*/ 36 w 58"/>
                    <a:gd name="T9" fmla="*/ 8 h 42"/>
                    <a:gd name="T10" fmla="*/ 36 w 58"/>
                    <a:gd name="T11" fmla="*/ 7 h 42"/>
                    <a:gd name="T12" fmla="*/ 36 w 58"/>
                    <a:gd name="T13" fmla="*/ 8 h 42"/>
                    <a:gd name="T14" fmla="*/ 36 w 58"/>
                    <a:gd name="T15" fmla="*/ 8 h 42"/>
                    <a:gd name="T16" fmla="*/ 36 w 58"/>
                    <a:gd name="T17" fmla="*/ 8 h 42"/>
                    <a:gd name="T18" fmla="*/ 29 w 58"/>
                    <a:gd name="T19" fmla="*/ 14 h 42"/>
                    <a:gd name="T20" fmla="*/ 22 w 58"/>
                    <a:gd name="T21" fmla="*/ 7 h 42"/>
                    <a:gd name="T22" fmla="*/ 22 w 58"/>
                    <a:gd name="T23" fmla="*/ 7 h 42"/>
                    <a:gd name="T24" fmla="*/ 22 w 58"/>
                    <a:gd name="T25" fmla="*/ 1 h 42"/>
                    <a:gd name="T26" fmla="*/ 18 w 58"/>
                    <a:gd name="T27" fmla="*/ 1 h 42"/>
                    <a:gd name="T28" fmla="*/ 7 w 58"/>
                    <a:gd name="T29" fmla="*/ 4 h 42"/>
                    <a:gd name="T30" fmla="*/ 0 w 58"/>
                    <a:gd name="T31" fmla="*/ 7 h 42"/>
                    <a:gd name="T32" fmla="*/ 0 w 58"/>
                    <a:gd name="T33" fmla="*/ 42 h 42"/>
                    <a:gd name="T34" fmla="*/ 29 w 58"/>
                    <a:gd name="T35" fmla="*/ 42 h 42"/>
                    <a:gd name="T36" fmla="*/ 58 w 58"/>
                    <a:gd name="T37" fmla="*/ 42 h 42"/>
                    <a:gd name="T38" fmla="*/ 58 w 58"/>
                    <a:gd name="T39" fmla="*/ 7 h 42"/>
                    <a:gd name="T40" fmla="*/ 51 w 58"/>
                    <a:gd name="T4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 h="42">
                      <a:moveTo>
                        <a:pt x="51" y="4"/>
                      </a:moveTo>
                      <a:cubicBezTo>
                        <a:pt x="39" y="1"/>
                        <a:pt x="39" y="1"/>
                        <a:pt x="39" y="1"/>
                      </a:cubicBezTo>
                      <a:cubicBezTo>
                        <a:pt x="36" y="0"/>
                        <a:pt x="36" y="0"/>
                        <a:pt x="36" y="0"/>
                      </a:cubicBezTo>
                      <a:cubicBezTo>
                        <a:pt x="36" y="8"/>
                        <a:pt x="36" y="8"/>
                        <a:pt x="36" y="8"/>
                      </a:cubicBezTo>
                      <a:cubicBezTo>
                        <a:pt x="36" y="8"/>
                        <a:pt x="36" y="8"/>
                        <a:pt x="36" y="8"/>
                      </a:cubicBezTo>
                      <a:cubicBezTo>
                        <a:pt x="36" y="7"/>
                        <a:pt x="36" y="7"/>
                        <a:pt x="36" y="7"/>
                      </a:cubicBezTo>
                      <a:cubicBezTo>
                        <a:pt x="36" y="8"/>
                        <a:pt x="36" y="8"/>
                        <a:pt x="36" y="8"/>
                      </a:cubicBezTo>
                      <a:cubicBezTo>
                        <a:pt x="36" y="8"/>
                        <a:pt x="36" y="8"/>
                        <a:pt x="36" y="8"/>
                      </a:cubicBezTo>
                      <a:cubicBezTo>
                        <a:pt x="36" y="8"/>
                        <a:pt x="36" y="8"/>
                        <a:pt x="36" y="8"/>
                      </a:cubicBezTo>
                      <a:cubicBezTo>
                        <a:pt x="35" y="11"/>
                        <a:pt x="32" y="14"/>
                        <a:pt x="29" y="14"/>
                      </a:cubicBezTo>
                      <a:cubicBezTo>
                        <a:pt x="25" y="14"/>
                        <a:pt x="22" y="11"/>
                        <a:pt x="22" y="7"/>
                      </a:cubicBezTo>
                      <a:cubicBezTo>
                        <a:pt x="22" y="7"/>
                        <a:pt x="22" y="7"/>
                        <a:pt x="22" y="7"/>
                      </a:cubicBezTo>
                      <a:cubicBezTo>
                        <a:pt x="22" y="1"/>
                        <a:pt x="22" y="1"/>
                        <a:pt x="22" y="1"/>
                      </a:cubicBezTo>
                      <a:cubicBezTo>
                        <a:pt x="18" y="1"/>
                        <a:pt x="18" y="1"/>
                        <a:pt x="18" y="1"/>
                      </a:cubicBezTo>
                      <a:cubicBezTo>
                        <a:pt x="7" y="4"/>
                        <a:pt x="7" y="4"/>
                        <a:pt x="7" y="4"/>
                      </a:cubicBezTo>
                      <a:cubicBezTo>
                        <a:pt x="4" y="4"/>
                        <a:pt x="2" y="5"/>
                        <a:pt x="0" y="7"/>
                      </a:cubicBezTo>
                      <a:cubicBezTo>
                        <a:pt x="0" y="42"/>
                        <a:pt x="0" y="42"/>
                        <a:pt x="0" y="42"/>
                      </a:cubicBezTo>
                      <a:cubicBezTo>
                        <a:pt x="29" y="42"/>
                        <a:pt x="29" y="42"/>
                        <a:pt x="29" y="42"/>
                      </a:cubicBezTo>
                      <a:cubicBezTo>
                        <a:pt x="58" y="42"/>
                        <a:pt x="58" y="42"/>
                        <a:pt x="58" y="42"/>
                      </a:cubicBezTo>
                      <a:cubicBezTo>
                        <a:pt x="58" y="7"/>
                        <a:pt x="58" y="7"/>
                        <a:pt x="58" y="7"/>
                      </a:cubicBezTo>
                      <a:cubicBezTo>
                        <a:pt x="56" y="5"/>
                        <a:pt x="53" y="4"/>
                        <a:pt x="51" y="4"/>
                      </a:cubicBez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8" name="ïṧ1iḑè">
                  <a:extLst>
                    <a:ext uri="{FF2B5EF4-FFF2-40B4-BE49-F238E27FC236}">
                      <a16:creationId xmlns:a16="http://schemas.microsoft.com/office/drawing/2014/main" id="{4A239183-9629-481F-9060-6E7E71935784}"/>
                    </a:ext>
                  </a:extLst>
                </p:cNvPr>
                <p:cNvSpPr/>
                <p:nvPr/>
              </p:nvSpPr>
              <p:spPr bwMode="auto">
                <a:xfrm>
                  <a:off x="6429376" y="3770313"/>
                  <a:ext cx="46038" cy="80963"/>
                </a:xfrm>
                <a:custGeom>
                  <a:avLst/>
                  <a:gdLst>
                    <a:gd name="T0" fmla="*/ 12 w 12"/>
                    <a:gd name="T1" fmla="*/ 21 h 21"/>
                    <a:gd name="T2" fmla="*/ 3 w 12"/>
                    <a:gd name="T3" fmla="*/ 21 h 21"/>
                    <a:gd name="T4" fmla="*/ 12 w 12"/>
                    <a:gd name="T5" fmla="*/ 0 h 21"/>
                    <a:gd name="T6" fmla="*/ 12 w 12"/>
                    <a:gd name="T7" fmla="*/ 21 h 21"/>
                  </a:gdLst>
                  <a:ahLst/>
                  <a:cxnLst>
                    <a:cxn ang="0">
                      <a:pos x="T0" y="T1"/>
                    </a:cxn>
                    <a:cxn ang="0">
                      <a:pos x="T2" y="T3"/>
                    </a:cxn>
                    <a:cxn ang="0">
                      <a:pos x="T4" y="T5"/>
                    </a:cxn>
                    <a:cxn ang="0">
                      <a:pos x="T6" y="T7"/>
                    </a:cxn>
                  </a:cxnLst>
                  <a:rect l="0" t="0" r="r" b="b"/>
                  <a:pathLst>
                    <a:path w="12" h="21">
                      <a:moveTo>
                        <a:pt x="12" y="21"/>
                      </a:moveTo>
                      <a:cubicBezTo>
                        <a:pt x="3" y="21"/>
                        <a:pt x="3" y="21"/>
                        <a:pt x="3" y="21"/>
                      </a:cubicBezTo>
                      <a:cubicBezTo>
                        <a:pt x="3" y="21"/>
                        <a:pt x="0" y="8"/>
                        <a:pt x="12" y="0"/>
                      </a:cubicBezTo>
                      <a:lnTo>
                        <a:pt x="12" y="21"/>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9" name="íṩľîḑê">
                  <a:extLst>
                    <a:ext uri="{FF2B5EF4-FFF2-40B4-BE49-F238E27FC236}">
                      <a16:creationId xmlns:a16="http://schemas.microsoft.com/office/drawing/2014/main" id="{7C0920B1-2399-4DBF-B9C4-F846CB1CBCC9}"/>
                    </a:ext>
                  </a:extLst>
                </p:cNvPr>
                <p:cNvSpPr/>
                <p:nvPr/>
              </p:nvSpPr>
              <p:spPr bwMode="auto">
                <a:xfrm>
                  <a:off x="6702426" y="3770313"/>
                  <a:ext cx="47625" cy="80963"/>
                </a:xfrm>
                <a:custGeom>
                  <a:avLst/>
                  <a:gdLst>
                    <a:gd name="T0" fmla="*/ 0 w 12"/>
                    <a:gd name="T1" fmla="*/ 21 h 21"/>
                    <a:gd name="T2" fmla="*/ 10 w 12"/>
                    <a:gd name="T3" fmla="*/ 21 h 21"/>
                    <a:gd name="T4" fmla="*/ 0 w 12"/>
                    <a:gd name="T5" fmla="*/ 0 h 21"/>
                    <a:gd name="T6" fmla="*/ 0 w 12"/>
                    <a:gd name="T7" fmla="*/ 21 h 21"/>
                  </a:gdLst>
                  <a:ahLst/>
                  <a:cxnLst>
                    <a:cxn ang="0">
                      <a:pos x="T0" y="T1"/>
                    </a:cxn>
                    <a:cxn ang="0">
                      <a:pos x="T2" y="T3"/>
                    </a:cxn>
                    <a:cxn ang="0">
                      <a:pos x="T4" y="T5"/>
                    </a:cxn>
                    <a:cxn ang="0">
                      <a:pos x="T6" y="T7"/>
                    </a:cxn>
                  </a:cxnLst>
                  <a:rect l="0" t="0" r="r" b="b"/>
                  <a:pathLst>
                    <a:path w="12" h="21">
                      <a:moveTo>
                        <a:pt x="0" y="21"/>
                      </a:moveTo>
                      <a:cubicBezTo>
                        <a:pt x="10" y="21"/>
                        <a:pt x="10" y="21"/>
                        <a:pt x="10" y="21"/>
                      </a:cubicBezTo>
                      <a:cubicBezTo>
                        <a:pt x="10" y="21"/>
                        <a:pt x="12" y="7"/>
                        <a:pt x="0" y="0"/>
                      </a:cubicBezTo>
                      <a:lnTo>
                        <a:pt x="0" y="21"/>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0" name="iṩḻïḓè">
                  <a:extLst>
                    <a:ext uri="{FF2B5EF4-FFF2-40B4-BE49-F238E27FC236}">
                      <a16:creationId xmlns:a16="http://schemas.microsoft.com/office/drawing/2014/main" id="{350BF5A6-3E15-4A6E-9F76-E1CB71CEDA06}"/>
                    </a:ext>
                  </a:extLst>
                </p:cNvPr>
                <p:cNvSpPr/>
                <p:nvPr/>
              </p:nvSpPr>
              <p:spPr bwMode="auto">
                <a:xfrm>
                  <a:off x="6561138" y="3714751"/>
                  <a:ext cx="55563" cy="82550"/>
                </a:xfrm>
                <a:custGeom>
                  <a:avLst/>
                  <a:gdLst>
                    <a:gd name="T0" fmla="*/ 14 w 14"/>
                    <a:gd name="T1" fmla="*/ 7 h 21"/>
                    <a:gd name="T2" fmla="*/ 14 w 14"/>
                    <a:gd name="T3" fmla="*/ 15 h 21"/>
                    <a:gd name="T4" fmla="*/ 14 w 14"/>
                    <a:gd name="T5" fmla="*/ 14 h 21"/>
                    <a:gd name="T6" fmla="*/ 7 w 14"/>
                    <a:gd name="T7" fmla="*/ 21 h 21"/>
                    <a:gd name="T8" fmla="*/ 0 w 14"/>
                    <a:gd name="T9" fmla="*/ 14 h 21"/>
                    <a:gd name="T10" fmla="*/ 0 w 14"/>
                    <a:gd name="T11" fmla="*/ 14 h 21"/>
                    <a:gd name="T12" fmla="*/ 0 w 14"/>
                    <a:gd name="T13" fmla="*/ 3 h 21"/>
                    <a:gd name="T14" fmla="*/ 2 w 14"/>
                    <a:gd name="T15" fmla="*/ 2 h 21"/>
                    <a:gd name="T16" fmla="*/ 3 w 14"/>
                    <a:gd name="T17" fmla="*/ 2 h 21"/>
                    <a:gd name="T18" fmla="*/ 10 w 14"/>
                    <a:gd name="T19" fmla="*/ 0 h 21"/>
                    <a:gd name="T20" fmla="*/ 12 w 14"/>
                    <a:gd name="T21" fmla="*/ 1 h 21"/>
                    <a:gd name="T22" fmla="*/ 14 w 14"/>
                    <a:gd name="T23" fmla="*/ 1 h 21"/>
                    <a:gd name="T24" fmla="*/ 14 w 14"/>
                    <a:gd name="T2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1">
                      <a:moveTo>
                        <a:pt x="14" y="7"/>
                      </a:moveTo>
                      <a:cubicBezTo>
                        <a:pt x="14" y="15"/>
                        <a:pt x="14" y="15"/>
                        <a:pt x="14" y="15"/>
                      </a:cubicBezTo>
                      <a:cubicBezTo>
                        <a:pt x="14" y="14"/>
                        <a:pt x="14" y="14"/>
                        <a:pt x="14" y="14"/>
                      </a:cubicBezTo>
                      <a:cubicBezTo>
                        <a:pt x="14" y="18"/>
                        <a:pt x="11" y="21"/>
                        <a:pt x="7" y="21"/>
                      </a:cubicBezTo>
                      <a:cubicBezTo>
                        <a:pt x="3" y="21"/>
                        <a:pt x="0" y="18"/>
                        <a:pt x="0" y="14"/>
                      </a:cubicBezTo>
                      <a:cubicBezTo>
                        <a:pt x="0" y="14"/>
                        <a:pt x="0" y="14"/>
                        <a:pt x="0" y="14"/>
                      </a:cubicBezTo>
                      <a:cubicBezTo>
                        <a:pt x="0" y="3"/>
                        <a:pt x="0" y="3"/>
                        <a:pt x="0" y="3"/>
                      </a:cubicBezTo>
                      <a:cubicBezTo>
                        <a:pt x="2" y="2"/>
                        <a:pt x="2" y="2"/>
                        <a:pt x="2" y="2"/>
                      </a:cubicBezTo>
                      <a:cubicBezTo>
                        <a:pt x="3" y="2"/>
                        <a:pt x="3" y="2"/>
                        <a:pt x="3" y="2"/>
                      </a:cubicBezTo>
                      <a:cubicBezTo>
                        <a:pt x="10" y="0"/>
                        <a:pt x="10" y="0"/>
                        <a:pt x="10" y="0"/>
                      </a:cubicBezTo>
                      <a:cubicBezTo>
                        <a:pt x="12" y="1"/>
                        <a:pt x="12" y="1"/>
                        <a:pt x="12" y="1"/>
                      </a:cubicBezTo>
                      <a:cubicBezTo>
                        <a:pt x="14" y="1"/>
                        <a:pt x="14" y="1"/>
                        <a:pt x="14" y="1"/>
                      </a:cubicBezTo>
                      <a:cubicBezTo>
                        <a:pt x="14" y="7"/>
                        <a:pt x="14" y="7"/>
                        <a:pt x="14" y="7"/>
                      </a:cubicBezTo>
                    </a:path>
                  </a:pathLst>
                </a:custGeom>
                <a:solidFill>
                  <a:srgbClr val="F7D9B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1" name="iṡḻïḍê">
                  <a:extLst>
                    <a:ext uri="{FF2B5EF4-FFF2-40B4-BE49-F238E27FC236}">
                      <a16:creationId xmlns:a16="http://schemas.microsoft.com/office/drawing/2014/main" id="{43DA3188-93F5-457C-89CB-9BAAFA9BF847}"/>
                    </a:ext>
                  </a:extLst>
                </p:cNvPr>
                <p:cNvSpPr/>
                <p:nvPr/>
              </p:nvSpPr>
              <p:spPr bwMode="auto">
                <a:xfrm>
                  <a:off x="6561138" y="3714751"/>
                  <a:ext cx="55563" cy="42863"/>
                </a:xfrm>
                <a:custGeom>
                  <a:avLst/>
                  <a:gdLst>
                    <a:gd name="T0" fmla="*/ 10 w 14"/>
                    <a:gd name="T1" fmla="*/ 0 h 11"/>
                    <a:gd name="T2" fmla="*/ 3 w 14"/>
                    <a:gd name="T3" fmla="*/ 2 h 11"/>
                    <a:gd name="T4" fmla="*/ 2 w 14"/>
                    <a:gd name="T5" fmla="*/ 2 h 11"/>
                    <a:gd name="T6" fmla="*/ 0 w 14"/>
                    <a:gd name="T7" fmla="*/ 3 h 11"/>
                    <a:gd name="T8" fmla="*/ 0 w 14"/>
                    <a:gd name="T9" fmla="*/ 9 h 11"/>
                    <a:gd name="T10" fmla="*/ 7 w 14"/>
                    <a:gd name="T11" fmla="*/ 11 h 11"/>
                    <a:gd name="T12" fmla="*/ 14 w 14"/>
                    <a:gd name="T13" fmla="*/ 9 h 11"/>
                    <a:gd name="T14" fmla="*/ 14 w 14"/>
                    <a:gd name="T15" fmla="*/ 7 h 11"/>
                    <a:gd name="T16" fmla="*/ 14 w 14"/>
                    <a:gd name="T17" fmla="*/ 1 h 11"/>
                    <a:gd name="T18" fmla="*/ 12 w 14"/>
                    <a:gd name="T19" fmla="*/ 1 h 11"/>
                    <a:gd name="T20" fmla="*/ 10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10" y="0"/>
                      </a:moveTo>
                      <a:cubicBezTo>
                        <a:pt x="3" y="2"/>
                        <a:pt x="3" y="2"/>
                        <a:pt x="3" y="2"/>
                      </a:cubicBezTo>
                      <a:cubicBezTo>
                        <a:pt x="2" y="2"/>
                        <a:pt x="2" y="2"/>
                        <a:pt x="2" y="2"/>
                      </a:cubicBezTo>
                      <a:cubicBezTo>
                        <a:pt x="0" y="3"/>
                        <a:pt x="0" y="3"/>
                        <a:pt x="0" y="3"/>
                      </a:cubicBezTo>
                      <a:cubicBezTo>
                        <a:pt x="0" y="9"/>
                        <a:pt x="0" y="9"/>
                        <a:pt x="0" y="9"/>
                      </a:cubicBezTo>
                      <a:cubicBezTo>
                        <a:pt x="2" y="10"/>
                        <a:pt x="4" y="11"/>
                        <a:pt x="7" y="11"/>
                      </a:cubicBezTo>
                      <a:cubicBezTo>
                        <a:pt x="9" y="11"/>
                        <a:pt x="12" y="10"/>
                        <a:pt x="14" y="9"/>
                      </a:cubicBezTo>
                      <a:cubicBezTo>
                        <a:pt x="14" y="7"/>
                        <a:pt x="14" y="7"/>
                        <a:pt x="14" y="7"/>
                      </a:cubicBezTo>
                      <a:cubicBezTo>
                        <a:pt x="14" y="1"/>
                        <a:pt x="14" y="1"/>
                        <a:pt x="14" y="1"/>
                      </a:cubicBezTo>
                      <a:cubicBezTo>
                        <a:pt x="12" y="1"/>
                        <a:pt x="12" y="1"/>
                        <a:pt x="12" y="1"/>
                      </a:cubicBezTo>
                      <a:cubicBezTo>
                        <a:pt x="10" y="0"/>
                        <a:pt x="10" y="0"/>
                        <a:pt x="10" y="0"/>
                      </a:cubicBezTo>
                    </a:path>
                  </a:pathLst>
                </a:custGeom>
                <a:solidFill>
                  <a:srgbClr val="F6A49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2" name="îṥḻíde">
                  <a:extLst>
                    <a:ext uri="{FF2B5EF4-FFF2-40B4-BE49-F238E27FC236}">
                      <a16:creationId xmlns:a16="http://schemas.microsoft.com/office/drawing/2014/main" id="{36BAF48E-0259-4F7F-916C-216206D84D5A}"/>
                    </a:ext>
                  </a:extLst>
                </p:cNvPr>
                <p:cNvSpPr/>
                <p:nvPr/>
              </p:nvSpPr>
              <p:spPr bwMode="auto">
                <a:xfrm>
                  <a:off x="6480176" y="3402013"/>
                  <a:ext cx="219075" cy="336550"/>
                </a:xfrm>
                <a:custGeom>
                  <a:avLst/>
                  <a:gdLst>
                    <a:gd name="T0" fmla="*/ 28 w 56"/>
                    <a:gd name="T1" fmla="*/ 86 h 86"/>
                    <a:gd name="T2" fmla="*/ 0 w 56"/>
                    <a:gd name="T3" fmla="*/ 58 h 86"/>
                    <a:gd name="T4" fmla="*/ 0 w 56"/>
                    <a:gd name="T5" fmla="*/ 27 h 86"/>
                    <a:gd name="T6" fmla="*/ 28 w 56"/>
                    <a:gd name="T7" fmla="*/ 0 h 86"/>
                    <a:gd name="T8" fmla="*/ 56 w 56"/>
                    <a:gd name="T9" fmla="*/ 27 h 86"/>
                    <a:gd name="T10" fmla="*/ 56 w 56"/>
                    <a:gd name="T11" fmla="*/ 58 h 86"/>
                    <a:gd name="T12" fmla="*/ 28 w 5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56" h="86">
                      <a:moveTo>
                        <a:pt x="28" y="86"/>
                      </a:moveTo>
                      <a:cubicBezTo>
                        <a:pt x="13" y="86"/>
                        <a:pt x="0" y="73"/>
                        <a:pt x="0" y="58"/>
                      </a:cubicBezTo>
                      <a:cubicBezTo>
                        <a:pt x="0" y="27"/>
                        <a:pt x="0" y="27"/>
                        <a:pt x="0" y="27"/>
                      </a:cubicBezTo>
                      <a:cubicBezTo>
                        <a:pt x="0" y="12"/>
                        <a:pt x="13" y="0"/>
                        <a:pt x="28" y="0"/>
                      </a:cubicBezTo>
                      <a:cubicBezTo>
                        <a:pt x="43" y="0"/>
                        <a:pt x="56" y="12"/>
                        <a:pt x="56" y="27"/>
                      </a:cubicBezTo>
                      <a:cubicBezTo>
                        <a:pt x="56" y="58"/>
                        <a:pt x="56" y="58"/>
                        <a:pt x="56" y="58"/>
                      </a:cubicBezTo>
                      <a:cubicBezTo>
                        <a:pt x="56" y="73"/>
                        <a:pt x="43" y="86"/>
                        <a:pt x="28" y="86"/>
                      </a:cubicBezTo>
                    </a:path>
                  </a:pathLst>
                </a:custGeom>
                <a:solidFill>
                  <a:srgbClr val="F7D9B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83" name="ïsḻídé">
                  <a:extLst>
                    <a:ext uri="{FF2B5EF4-FFF2-40B4-BE49-F238E27FC236}">
                      <a16:creationId xmlns:a16="http://schemas.microsoft.com/office/drawing/2014/main" id="{B16B2584-33BE-496C-9540-CB8FC7069340}"/>
                    </a:ext>
                  </a:extLst>
                </p:cNvPr>
                <p:cNvSpPr/>
                <p:nvPr/>
              </p:nvSpPr>
              <p:spPr bwMode="auto">
                <a:xfrm>
                  <a:off x="6624638" y="3549651"/>
                  <a:ext cx="23813" cy="23813"/>
                </a:xfrm>
                <a:prstGeom prst="ellipse">
                  <a:avLst/>
                </a:prstGeom>
                <a:solidFill>
                  <a:srgbClr val="292B2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4" name="iṡlîḓè">
                  <a:extLst>
                    <a:ext uri="{FF2B5EF4-FFF2-40B4-BE49-F238E27FC236}">
                      <a16:creationId xmlns:a16="http://schemas.microsoft.com/office/drawing/2014/main" id="{DF83571A-EB90-4B62-9F96-F5269C8D918B}"/>
                    </a:ext>
                  </a:extLst>
                </p:cNvPr>
                <p:cNvSpPr/>
                <p:nvPr/>
              </p:nvSpPr>
              <p:spPr bwMode="auto">
                <a:xfrm>
                  <a:off x="6530976" y="3549651"/>
                  <a:ext cx="22225" cy="23813"/>
                </a:xfrm>
                <a:prstGeom prst="ellipse">
                  <a:avLst/>
                </a:prstGeom>
                <a:solidFill>
                  <a:srgbClr val="292B2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5" name="îSliḍe">
                  <a:extLst>
                    <a:ext uri="{FF2B5EF4-FFF2-40B4-BE49-F238E27FC236}">
                      <a16:creationId xmlns:a16="http://schemas.microsoft.com/office/drawing/2014/main" id="{A275334A-6A94-4D37-937D-0FF1618C9255}"/>
                    </a:ext>
                  </a:extLst>
                </p:cNvPr>
                <p:cNvSpPr/>
                <p:nvPr/>
              </p:nvSpPr>
              <p:spPr bwMode="auto">
                <a:xfrm>
                  <a:off x="6550026" y="3656013"/>
                  <a:ext cx="82550" cy="15875"/>
                </a:xfrm>
                <a:custGeom>
                  <a:avLst/>
                  <a:gdLst>
                    <a:gd name="T0" fmla="*/ 10 w 21"/>
                    <a:gd name="T1" fmla="*/ 4 h 4"/>
                    <a:gd name="T2" fmla="*/ 0 w 21"/>
                    <a:gd name="T3" fmla="*/ 1 h 4"/>
                    <a:gd name="T4" fmla="*/ 0 w 21"/>
                    <a:gd name="T5" fmla="*/ 0 h 4"/>
                    <a:gd name="T6" fmla="*/ 1 w 21"/>
                    <a:gd name="T7" fmla="*/ 0 h 4"/>
                    <a:gd name="T8" fmla="*/ 10 w 21"/>
                    <a:gd name="T9" fmla="*/ 2 h 4"/>
                    <a:gd name="T10" fmla="*/ 20 w 21"/>
                    <a:gd name="T11" fmla="*/ 0 h 4"/>
                    <a:gd name="T12" fmla="*/ 21 w 21"/>
                    <a:gd name="T13" fmla="*/ 0 h 4"/>
                    <a:gd name="T14" fmla="*/ 20 w 21"/>
                    <a:gd name="T15" fmla="*/ 1 h 4"/>
                    <a:gd name="T16" fmla="*/ 10 w 2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
                      <a:moveTo>
                        <a:pt x="10" y="4"/>
                      </a:moveTo>
                      <a:cubicBezTo>
                        <a:pt x="7" y="4"/>
                        <a:pt x="3" y="3"/>
                        <a:pt x="0" y="1"/>
                      </a:cubicBezTo>
                      <a:cubicBezTo>
                        <a:pt x="0" y="0"/>
                        <a:pt x="0" y="0"/>
                        <a:pt x="0" y="0"/>
                      </a:cubicBezTo>
                      <a:cubicBezTo>
                        <a:pt x="1" y="0"/>
                        <a:pt x="1" y="0"/>
                        <a:pt x="1" y="0"/>
                      </a:cubicBezTo>
                      <a:cubicBezTo>
                        <a:pt x="4" y="1"/>
                        <a:pt x="7" y="2"/>
                        <a:pt x="10" y="2"/>
                      </a:cubicBezTo>
                      <a:cubicBezTo>
                        <a:pt x="14" y="2"/>
                        <a:pt x="17" y="1"/>
                        <a:pt x="20" y="0"/>
                      </a:cubicBezTo>
                      <a:cubicBezTo>
                        <a:pt x="21" y="0"/>
                        <a:pt x="21" y="0"/>
                        <a:pt x="21" y="0"/>
                      </a:cubicBezTo>
                      <a:cubicBezTo>
                        <a:pt x="20" y="1"/>
                        <a:pt x="20" y="1"/>
                        <a:pt x="20" y="1"/>
                      </a:cubicBezTo>
                      <a:cubicBezTo>
                        <a:pt x="18" y="3"/>
                        <a:pt x="14" y="4"/>
                        <a:pt x="10" y="4"/>
                      </a:cubicBezTo>
                    </a:path>
                  </a:pathLst>
                </a:custGeom>
                <a:solidFill>
                  <a:srgbClr val="F7A584"/>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6" name="îS1ïďe">
                  <a:extLst>
                    <a:ext uri="{FF2B5EF4-FFF2-40B4-BE49-F238E27FC236}">
                      <a16:creationId xmlns:a16="http://schemas.microsoft.com/office/drawing/2014/main" id="{C5980230-3F71-4733-88BC-6358DEA82778}"/>
                    </a:ext>
                  </a:extLst>
                </p:cNvPr>
                <p:cNvSpPr/>
                <p:nvPr/>
              </p:nvSpPr>
              <p:spPr bwMode="auto">
                <a:xfrm>
                  <a:off x="6577013" y="3703638"/>
                  <a:ext cx="23813" cy="7938"/>
                </a:xfrm>
                <a:custGeom>
                  <a:avLst/>
                  <a:gdLst>
                    <a:gd name="T0" fmla="*/ 0 w 6"/>
                    <a:gd name="T1" fmla="*/ 2 h 2"/>
                    <a:gd name="T2" fmla="*/ 0 w 6"/>
                    <a:gd name="T3" fmla="*/ 1 h 2"/>
                    <a:gd name="T4" fmla="*/ 0 w 6"/>
                    <a:gd name="T5" fmla="*/ 1 h 2"/>
                    <a:gd name="T6" fmla="*/ 3 w 6"/>
                    <a:gd name="T7" fmla="*/ 0 h 2"/>
                    <a:gd name="T8" fmla="*/ 6 w 6"/>
                    <a:gd name="T9" fmla="*/ 0 h 2"/>
                    <a:gd name="T10" fmla="*/ 6 w 6"/>
                    <a:gd name="T11" fmla="*/ 1 h 2"/>
                    <a:gd name="T12" fmla="*/ 5 w 6"/>
                    <a:gd name="T13" fmla="*/ 2 h 2"/>
                    <a:gd name="T14" fmla="*/ 3 w 6"/>
                    <a:gd name="T15" fmla="*/ 1 h 2"/>
                    <a:gd name="T16" fmla="*/ 1 w 6"/>
                    <a:gd name="T17" fmla="*/ 2 h 2"/>
                    <a:gd name="T18" fmla="*/ 0 w 6"/>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0" y="2"/>
                      </a:moveTo>
                      <a:cubicBezTo>
                        <a:pt x="0" y="1"/>
                        <a:pt x="0" y="1"/>
                        <a:pt x="0" y="1"/>
                      </a:cubicBezTo>
                      <a:cubicBezTo>
                        <a:pt x="0" y="1"/>
                        <a:pt x="0" y="1"/>
                        <a:pt x="0" y="1"/>
                      </a:cubicBezTo>
                      <a:cubicBezTo>
                        <a:pt x="1" y="0"/>
                        <a:pt x="2" y="0"/>
                        <a:pt x="3" y="0"/>
                      </a:cubicBezTo>
                      <a:cubicBezTo>
                        <a:pt x="4" y="0"/>
                        <a:pt x="5" y="0"/>
                        <a:pt x="6" y="0"/>
                      </a:cubicBezTo>
                      <a:cubicBezTo>
                        <a:pt x="6" y="1"/>
                        <a:pt x="6" y="1"/>
                        <a:pt x="6" y="1"/>
                      </a:cubicBezTo>
                      <a:cubicBezTo>
                        <a:pt x="5" y="2"/>
                        <a:pt x="5" y="2"/>
                        <a:pt x="5" y="2"/>
                      </a:cubicBezTo>
                      <a:cubicBezTo>
                        <a:pt x="5" y="1"/>
                        <a:pt x="4" y="1"/>
                        <a:pt x="3" y="1"/>
                      </a:cubicBezTo>
                      <a:cubicBezTo>
                        <a:pt x="2" y="1"/>
                        <a:pt x="1" y="1"/>
                        <a:pt x="1" y="2"/>
                      </a:cubicBezTo>
                      <a:cubicBezTo>
                        <a:pt x="0" y="2"/>
                        <a:pt x="0" y="2"/>
                        <a:pt x="0" y="2"/>
                      </a:cubicBezTo>
                    </a:path>
                  </a:pathLst>
                </a:custGeom>
                <a:solidFill>
                  <a:srgbClr val="F7A584"/>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7" name="išľiḍe">
                  <a:extLst>
                    <a:ext uri="{FF2B5EF4-FFF2-40B4-BE49-F238E27FC236}">
                      <a16:creationId xmlns:a16="http://schemas.microsoft.com/office/drawing/2014/main" id="{3CE97ACC-680D-42B6-AA48-25CEE1AFA508}"/>
                    </a:ext>
                  </a:extLst>
                </p:cNvPr>
                <p:cNvSpPr/>
                <p:nvPr/>
              </p:nvSpPr>
              <p:spPr bwMode="auto">
                <a:xfrm>
                  <a:off x="6699251" y="3546476"/>
                  <a:ext cx="19050" cy="55563"/>
                </a:xfrm>
                <a:custGeom>
                  <a:avLst/>
                  <a:gdLst>
                    <a:gd name="T0" fmla="*/ 0 w 5"/>
                    <a:gd name="T1" fmla="*/ 0 h 14"/>
                    <a:gd name="T2" fmla="*/ 0 w 5"/>
                    <a:gd name="T3" fmla="*/ 0 h 14"/>
                    <a:gd name="T4" fmla="*/ 5 w 5"/>
                    <a:gd name="T5" fmla="*/ 5 h 14"/>
                    <a:gd name="T6" fmla="*/ 5 w 5"/>
                    <a:gd name="T7" fmla="*/ 8 h 14"/>
                    <a:gd name="T8" fmla="*/ 0 w 5"/>
                    <a:gd name="T9" fmla="*/ 14 h 14"/>
                    <a:gd name="T10" fmla="*/ 0 w 5"/>
                    <a:gd name="T11" fmla="*/ 0 h 14"/>
                  </a:gdLst>
                  <a:ahLst/>
                  <a:cxnLst>
                    <a:cxn ang="0">
                      <a:pos x="T0" y="T1"/>
                    </a:cxn>
                    <a:cxn ang="0">
                      <a:pos x="T2" y="T3"/>
                    </a:cxn>
                    <a:cxn ang="0">
                      <a:pos x="T4" y="T5"/>
                    </a:cxn>
                    <a:cxn ang="0">
                      <a:pos x="T6" y="T7"/>
                    </a:cxn>
                    <a:cxn ang="0">
                      <a:pos x="T8" y="T9"/>
                    </a:cxn>
                    <a:cxn ang="0">
                      <a:pos x="T10" y="T11"/>
                    </a:cxn>
                  </a:cxnLst>
                  <a:rect l="0" t="0" r="r" b="b"/>
                  <a:pathLst>
                    <a:path w="5" h="14">
                      <a:moveTo>
                        <a:pt x="0" y="0"/>
                      </a:moveTo>
                      <a:cubicBezTo>
                        <a:pt x="0" y="0"/>
                        <a:pt x="0" y="0"/>
                        <a:pt x="0" y="0"/>
                      </a:cubicBezTo>
                      <a:cubicBezTo>
                        <a:pt x="2" y="0"/>
                        <a:pt x="5" y="2"/>
                        <a:pt x="5" y="5"/>
                      </a:cubicBezTo>
                      <a:cubicBezTo>
                        <a:pt x="5" y="8"/>
                        <a:pt x="5" y="8"/>
                        <a:pt x="5" y="8"/>
                      </a:cubicBezTo>
                      <a:cubicBezTo>
                        <a:pt x="5" y="11"/>
                        <a:pt x="2" y="14"/>
                        <a:pt x="0" y="14"/>
                      </a:cubicBezTo>
                      <a:cubicBezTo>
                        <a:pt x="0" y="0"/>
                        <a:pt x="0" y="0"/>
                        <a:pt x="0" y="0"/>
                      </a:cubicBezTo>
                    </a:path>
                  </a:pathLst>
                </a:custGeom>
                <a:solidFill>
                  <a:srgbClr val="F6A49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8" name="íšlíḓè">
                  <a:extLst>
                    <a:ext uri="{FF2B5EF4-FFF2-40B4-BE49-F238E27FC236}">
                      <a16:creationId xmlns:a16="http://schemas.microsoft.com/office/drawing/2014/main" id="{A8E46478-ECC9-4C0C-89ED-0F07446AC570}"/>
                    </a:ext>
                  </a:extLst>
                </p:cNvPr>
                <p:cNvSpPr/>
                <p:nvPr/>
              </p:nvSpPr>
              <p:spPr bwMode="auto">
                <a:xfrm>
                  <a:off x="6459538" y="3546476"/>
                  <a:ext cx="20638" cy="55563"/>
                </a:xfrm>
                <a:custGeom>
                  <a:avLst/>
                  <a:gdLst>
                    <a:gd name="T0" fmla="*/ 5 w 5"/>
                    <a:gd name="T1" fmla="*/ 0 h 14"/>
                    <a:gd name="T2" fmla="*/ 0 w 5"/>
                    <a:gd name="T3" fmla="*/ 5 h 14"/>
                    <a:gd name="T4" fmla="*/ 0 w 5"/>
                    <a:gd name="T5" fmla="*/ 8 h 14"/>
                    <a:gd name="T6" fmla="*/ 5 w 5"/>
                    <a:gd name="T7" fmla="*/ 14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cubicBezTo>
                        <a:pt x="2" y="0"/>
                        <a:pt x="0" y="2"/>
                        <a:pt x="0" y="5"/>
                      </a:cubicBezTo>
                      <a:cubicBezTo>
                        <a:pt x="0" y="8"/>
                        <a:pt x="0" y="8"/>
                        <a:pt x="0" y="8"/>
                      </a:cubicBezTo>
                      <a:cubicBezTo>
                        <a:pt x="0" y="11"/>
                        <a:pt x="2" y="14"/>
                        <a:pt x="5" y="14"/>
                      </a:cubicBezTo>
                      <a:cubicBezTo>
                        <a:pt x="5" y="0"/>
                        <a:pt x="5" y="0"/>
                        <a:pt x="5" y="0"/>
                      </a:cubicBezTo>
                    </a:path>
                  </a:pathLst>
                </a:custGeom>
                <a:solidFill>
                  <a:srgbClr val="F6A49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9" name="ïŝlíḓè">
                  <a:extLst>
                    <a:ext uri="{FF2B5EF4-FFF2-40B4-BE49-F238E27FC236}">
                      <a16:creationId xmlns:a16="http://schemas.microsoft.com/office/drawing/2014/main" id="{81044D8C-36D3-410C-86EC-44B098A2D081}"/>
                    </a:ext>
                  </a:extLst>
                </p:cNvPr>
                <p:cNvSpPr/>
                <p:nvPr/>
              </p:nvSpPr>
              <p:spPr bwMode="auto">
                <a:xfrm>
                  <a:off x="6577013" y="3562351"/>
                  <a:ext cx="28575" cy="53975"/>
                </a:xfrm>
                <a:custGeom>
                  <a:avLst/>
                  <a:gdLst>
                    <a:gd name="T0" fmla="*/ 3 w 7"/>
                    <a:gd name="T1" fmla="*/ 1 h 14"/>
                    <a:gd name="T2" fmla="*/ 0 w 7"/>
                    <a:gd name="T3" fmla="*/ 10 h 14"/>
                    <a:gd name="T4" fmla="*/ 3 w 7"/>
                    <a:gd name="T5" fmla="*/ 14 h 14"/>
                    <a:gd name="T6" fmla="*/ 4 w 7"/>
                    <a:gd name="T7" fmla="*/ 14 h 14"/>
                    <a:gd name="T8" fmla="*/ 7 w 7"/>
                    <a:gd name="T9" fmla="*/ 10 h 14"/>
                    <a:gd name="T10" fmla="*/ 4 w 7"/>
                    <a:gd name="T11" fmla="*/ 1 h 14"/>
                    <a:gd name="T12" fmla="*/ 3 w 7"/>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3" y="1"/>
                      </a:moveTo>
                      <a:cubicBezTo>
                        <a:pt x="0" y="10"/>
                        <a:pt x="0" y="10"/>
                        <a:pt x="0" y="10"/>
                      </a:cubicBezTo>
                      <a:cubicBezTo>
                        <a:pt x="0" y="12"/>
                        <a:pt x="1" y="14"/>
                        <a:pt x="3" y="14"/>
                      </a:cubicBezTo>
                      <a:cubicBezTo>
                        <a:pt x="4" y="14"/>
                        <a:pt x="4" y="14"/>
                        <a:pt x="4" y="14"/>
                      </a:cubicBezTo>
                      <a:cubicBezTo>
                        <a:pt x="6" y="14"/>
                        <a:pt x="7" y="12"/>
                        <a:pt x="7" y="10"/>
                      </a:cubicBezTo>
                      <a:cubicBezTo>
                        <a:pt x="4" y="1"/>
                        <a:pt x="4" y="1"/>
                        <a:pt x="4" y="1"/>
                      </a:cubicBezTo>
                      <a:cubicBezTo>
                        <a:pt x="4" y="0"/>
                        <a:pt x="3" y="0"/>
                        <a:pt x="3" y="1"/>
                      </a:cubicBezTo>
                      <a:close/>
                    </a:path>
                  </a:pathLst>
                </a:custGeom>
                <a:solidFill>
                  <a:srgbClr val="F6A49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0" name="iṩļîḍè">
                  <a:extLst>
                    <a:ext uri="{FF2B5EF4-FFF2-40B4-BE49-F238E27FC236}">
                      <a16:creationId xmlns:a16="http://schemas.microsoft.com/office/drawing/2014/main" id="{295AF2A4-3C9B-4A49-877A-D5E7C2546CFB}"/>
                    </a:ext>
                  </a:extLst>
                </p:cNvPr>
                <p:cNvSpPr/>
                <p:nvPr/>
              </p:nvSpPr>
              <p:spPr bwMode="auto">
                <a:xfrm>
                  <a:off x="6523038" y="3506788"/>
                  <a:ext cx="42863" cy="28575"/>
                </a:xfrm>
                <a:custGeom>
                  <a:avLst/>
                  <a:gdLst>
                    <a:gd name="T0" fmla="*/ 9 w 11"/>
                    <a:gd name="T1" fmla="*/ 6 h 7"/>
                    <a:gd name="T2" fmla="*/ 8 w 11"/>
                    <a:gd name="T3" fmla="*/ 6 h 7"/>
                    <a:gd name="T4" fmla="*/ 2 w 11"/>
                    <a:gd name="T5" fmla="*/ 6 h 7"/>
                    <a:gd name="T6" fmla="*/ 0 w 11"/>
                    <a:gd name="T7" fmla="*/ 6 h 7"/>
                    <a:gd name="T8" fmla="*/ 0 w 11"/>
                    <a:gd name="T9" fmla="*/ 4 h 7"/>
                    <a:gd name="T10" fmla="*/ 10 w 11"/>
                    <a:gd name="T11" fmla="*/ 4 h 7"/>
                    <a:gd name="T12" fmla="*/ 10 w 11"/>
                    <a:gd name="T13" fmla="*/ 6 h 7"/>
                    <a:gd name="T14" fmla="*/ 9 w 11"/>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9" y="6"/>
                      </a:moveTo>
                      <a:cubicBezTo>
                        <a:pt x="8" y="6"/>
                        <a:pt x="8" y="6"/>
                        <a:pt x="8" y="6"/>
                      </a:cubicBezTo>
                      <a:cubicBezTo>
                        <a:pt x="5" y="3"/>
                        <a:pt x="2" y="6"/>
                        <a:pt x="2" y="6"/>
                      </a:cubicBezTo>
                      <a:cubicBezTo>
                        <a:pt x="2" y="6"/>
                        <a:pt x="1" y="7"/>
                        <a:pt x="0" y="6"/>
                      </a:cubicBezTo>
                      <a:cubicBezTo>
                        <a:pt x="0" y="6"/>
                        <a:pt x="0" y="5"/>
                        <a:pt x="0" y="4"/>
                      </a:cubicBezTo>
                      <a:cubicBezTo>
                        <a:pt x="1" y="3"/>
                        <a:pt x="5" y="0"/>
                        <a:pt x="10" y="4"/>
                      </a:cubicBezTo>
                      <a:cubicBezTo>
                        <a:pt x="10" y="5"/>
                        <a:pt x="11" y="5"/>
                        <a:pt x="10" y="6"/>
                      </a:cubicBezTo>
                      <a:lnTo>
                        <a:pt x="9" y="6"/>
                      </a:lnTo>
                      <a:close/>
                    </a:path>
                  </a:pathLst>
                </a:custGeom>
                <a:solidFill>
                  <a:srgbClr val="27282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1" name="îṩ1ïďe">
                  <a:extLst>
                    <a:ext uri="{FF2B5EF4-FFF2-40B4-BE49-F238E27FC236}">
                      <a16:creationId xmlns:a16="http://schemas.microsoft.com/office/drawing/2014/main" id="{8BB28919-1AC0-4E90-9851-BD6F4BD4CD99}"/>
                    </a:ext>
                  </a:extLst>
                </p:cNvPr>
                <p:cNvSpPr/>
                <p:nvPr/>
              </p:nvSpPr>
              <p:spPr bwMode="auto">
                <a:xfrm>
                  <a:off x="6616701" y="3506788"/>
                  <a:ext cx="42863" cy="28575"/>
                </a:xfrm>
                <a:custGeom>
                  <a:avLst/>
                  <a:gdLst>
                    <a:gd name="T0" fmla="*/ 1 w 11"/>
                    <a:gd name="T1" fmla="*/ 6 h 7"/>
                    <a:gd name="T2" fmla="*/ 0 w 11"/>
                    <a:gd name="T3" fmla="*/ 6 h 7"/>
                    <a:gd name="T4" fmla="*/ 0 w 11"/>
                    <a:gd name="T5" fmla="*/ 4 h 7"/>
                    <a:gd name="T6" fmla="*/ 10 w 11"/>
                    <a:gd name="T7" fmla="*/ 4 h 7"/>
                    <a:gd name="T8" fmla="*/ 10 w 11"/>
                    <a:gd name="T9" fmla="*/ 6 h 7"/>
                    <a:gd name="T10" fmla="*/ 8 w 11"/>
                    <a:gd name="T11" fmla="*/ 6 h 7"/>
                    <a:gd name="T12" fmla="*/ 2 w 11"/>
                    <a:gd name="T13" fmla="*/ 6 h 7"/>
                    <a:gd name="T14" fmla="*/ 1 w 11"/>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1" y="6"/>
                      </a:moveTo>
                      <a:cubicBezTo>
                        <a:pt x="0" y="6"/>
                        <a:pt x="0" y="6"/>
                        <a:pt x="0" y="6"/>
                      </a:cubicBezTo>
                      <a:cubicBezTo>
                        <a:pt x="0" y="5"/>
                        <a:pt x="0" y="5"/>
                        <a:pt x="0" y="4"/>
                      </a:cubicBezTo>
                      <a:cubicBezTo>
                        <a:pt x="5" y="0"/>
                        <a:pt x="9" y="3"/>
                        <a:pt x="10" y="4"/>
                      </a:cubicBezTo>
                      <a:cubicBezTo>
                        <a:pt x="11" y="5"/>
                        <a:pt x="11" y="6"/>
                        <a:pt x="10" y="6"/>
                      </a:cubicBezTo>
                      <a:cubicBezTo>
                        <a:pt x="10" y="7"/>
                        <a:pt x="9" y="6"/>
                        <a:pt x="8" y="6"/>
                      </a:cubicBezTo>
                      <a:cubicBezTo>
                        <a:pt x="8" y="6"/>
                        <a:pt x="6" y="3"/>
                        <a:pt x="2" y="6"/>
                      </a:cubicBezTo>
                      <a:lnTo>
                        <a:pt x="1" y="6"/>
                      </a:lnTo>
                      <a:close/>
                    </a:path>
                  </a:pathLst>
                </a:custGeom>
                <a:solidFill>
                  <a:srgbClr val="27282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2" name="ïslïḋe">
                  <a:extLst>
                    <a:ext uri="{FF2B5EF4-FFF2-40B4-BE49-F238E27FC236}">
                      <a16:creationId xmlns:a16="http://schemas.microsoft.com/office/drawing/2014/main" id="{E42D43EF-04BC-4D17-84DC-7112A5214377}"/>
                    </a:ext>
                  </a:extLst>
                </p:cNvPr>
                <p:cNvSpPr/>
                <p:nvPr/>
              </p:nvSpPr>
              <p:spPr bwMode="auto">
                <a:xfrm>
                  <a:off x="6640513" y="3706813"/>
                  <a:ext cx="0" cy="4763"/>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close/>
                    </a:path>
                  </a:pathLst>
                </a:custGeom>
                <a:solidFill>
                  <a:srgbClr val="F7D9B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3" name="íşḻiḋê">
                  <a:extLst>
                    <a:ext uri="{FF2B5EF4-FFF2-40B4-BE49-F238E27FC236}">
                      <a16:creationId xmlns:a16="http://schemas.microsoft.com/office/drawing/2014/main" id="{E31CE50C-F6A5-40A6-83C1-E4846AFA87F1}"/>
                    </a:ext>
                  </a:extLst>
                </p:cNvPr>
                <p:cNvSpPr/>
                <p:nvPr/>
              </p:nvSpPr>
              <p:spPr bwMode="auto">
                <a:xfrm>
                  <a:off x="6640513" y="3706813"/>
                  <a:ext cx="0" cy="4763"/>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4" name="ï$lîḋê">
                  <a:extLst>
                    <a:ext uri="{FF2B5EF4-FFF2-40B4-BE49-F238E27FC236}">
                      <a16:creationId xmlns:a16="http://schemas.microsoft.com/office/drawing/2014/main" id="{FAD6FE13-CACD-450C-B3F9-53751B5C2BB0}"/>
                    </a:ext>
                  </a:extLst>
                </p:cNvPr>
                <p:cNvSpPr/>
                <p:nvPr/>
              </p:nvSpPr>
              <p:spPr bwMode="auto">
                <a:xfrm>
                  <a:off x="6702426" y="3851276"/>
                  <a:ext cx="15875" cy="55563"/>
                </a:xfrm>
                <a:prstGeom prst="rect">
                  <a:avLst/>
                </a:prstGeom>
                <a:solidFill>
                  <a:srgbClr val="F6A49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95" name="ï$lïḓé">
                  <a:extLst>
                    <a:ext uri="{FF2B5EF4-FFF2-40B4-BE49-F238E27FC236}">
                      <a16:creationId xmlns:a16="http://schemas.microsoft.com/office/drawing/2014/main" id="{02F9C1E6-DC0D-4CE2-BAAD-6669AB0C9AF0}"/>
                    </a:ext>
                  </a:extLst>
                </p:cNvPr>
                <p:cNvSpPr/>
                <p:nvPr/>
              </p:nvSpPr>
              <p:spPr bwMode="auto">
                <a:xfrm>
                  <a:off x="6459538" y="3851276"/>
                  <a:ext cx="15875" cy="55563"/>
                </a:xfrm>
                <a:prstGeom prst="rect">
                  <a:avLst/>
                </a:prstGeom>
                <a:solidFill>
                  <a:srgbClr val="F6A49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96" name="îṩľiḑê">
                  <a:extLst>
                    <a:ext uri="{FF2B5EF4-FFF2-40B4-BE49-F238E27FC236}">
                      <a16:creationId xmlns:a16="http://schemas.microsoft.com/office/drawing/2014/main" id="{3746DCC3-6398-4360-8EBD-2F3831D8C701}"/>
                    </a:ext>
                  </a:extLst>
                </p:cNvPr>
                <p:cNvSpPr/>
                <p:nvPr/>
              </p:nvSpPr>
              <p:spPr bwMode="auto">
                <a:xfrm>
                  <a:off x="6480176" y="3578226"/>
                  <a:ext cx="219075" cy="155575"/>
                </a:xfrm>
                <a:custGeom>
                  <a:avLst/>
                  <a:gdLst>
                    <a:gd name="T0" fmla="*/ 0 w 56"/>
                    <a:gd name="T1" fmla="*/ 6 h 40"/>
                    <a:gd name="T2" fmla="*/ 0 w 56"/>
                    <a:gd name="T3" fmla="*/ 13 h 40"/>
                    <a:gd name="T4" fmla="*/ 21 w 56"/>
                    <a:gd name="T5" fmla="*/ 40 h 40"/>
                    <a:gd name="T6" fmla="*/ 21 w 56"/>
                    <a:gd name="T7" fmla="*/ 40 h 40"/>
                    <a:gd name="T8" fmla="*/ 0 w 56"/>
                    <a:gd name="T9" fmla="*/ 13 h 40"/>
                    <a:gd name="T10" fmla="*/ 0 w 56"/>
                    <a:gd name="T11" fmla="*/ 6 h 40"/>
                    <a:gd name="T12" fmla="*/ 0 w 56"/>
                    <a:gd name="T13" fmla="*/ 6 h 40"/>
                    <a:gd name="T14" fmla="*/ 0 w 56"/>
                    <a:gd name="T15" fmla="*/ 6 h 40"/>
                    <a:gd name="T16" fmla="*/ 56 w 56"/>
                    <a:gd name="T17" fmla="*/ 0 h 40"/>
                    <a:gd name="T18" fmla="*/ 56 w 56"/>
                    <a:gd name="T19" fmla="*/ 13 h 40"/>
                    <a:gd name="T20" fmla="*/ 56 w 56"/>
                    <a:gd name="T21" fmla="*/ 13 h 40"/>
                    <a:gd name="T22" fmla="*/ 56 w 56"/>
                    <a:gd name="T23" fmla="*/ 2 h 40"/>
                    <a:gd name="T24" fmla="*/ 56 w 56"/>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40">
                      <a:moveTo>
                        <a:pt x="0" y="6"/>
                      </a:moveTo>
                      <a:cubicBezTo>
                        <a:pt x="0" y="13"/>
                        <a:pt x="0" y="13"/>
                        <a:pt x="0" y="13"/>
                      </a:cubicBezTo>
                      <a:cubicBezTo>
                        <a:pt x="0" y="26"/>
                        <a:pt x="9" y="37"/>
                        <a:pt x="21" y="40"/>
                      </a:cubicBezTo>
                      <a:cubicBezTo>
                        <a:pt x="21" y="40"/>
                        <a:pt x="21" y="40"/>
                        <a:pt x="21" y="40"/>
                      </a:cubicBezTo>
                      <a:cubicBezTo>
                        <a:pt x="9" y="37"/>
                        <a:pt x="0" y="26"/>
                        <a:pt x="0" y="13"/>
                      </a:cubicBezTo>
                      <a:cubicBezTo>
                        <a:pt x="0" y="6"/>
                        <a:pt x="0" y="6"/>
                        <a:pt x="0" y="6"/>
                      </a:cubicBezTo>
                      <a:cubicBezTo>
                        <a:pt x="0" y="6"/>
                        <a:pt x="0" y="6"/>
                        <a:pt x="0" y="6"/>
                      </a:cubicBezTo>
                      <a:cubicBezTo>
                        <a:pt x="0" y="6"/>
                        <a:pt x="0" y="6"/>
                        <a:pt x="0" y="6"/>
                      </a:cubicBezTo>
                      <a:moveTo>
                        <a:pt x="56" y="0"/>
                      </a:moveTo>
                      <a:cubicBezTo>
                        <a:pt x="56" y="13"/>
                        <a:pt x="56" y="13"/>
                        <a:pt x="56" y="13"/>
                      </a:cubicBezTo>
                      <a:cubicBezTo>
                        <a:pt x="56" y="13"/>
                        <a:pt x="56" y="13"/>
                        <a:pt x="56" y="13"/>
                      </a:cubicBezTo>
                      <a:cubicBezTo>
                        <a:pt x="56" y="2"/>
                        <a:pt x="56" y="2"/>
                        <a:pt x="56" y="2"/>
                      </a:cubicBezTo>
                      <a:cubicBezTo>
                        <a:pt x="56" y="0"/>
                        <a:pt x="56" y="0"/>
                        <a:pt x="56" y="0"/>
                      </a:cubicBezTo>
                    </a:path>
                  </a:pathLst>
                </a:custGeom>
                <a:solidFill>
                  <a:srgbClr val="F4E2D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7" name="ïṣḻiḍé">
                  <a:extLst>
                    <a:ext uri="{FF2B5EF4-FFF2-40B4-BE49-F238E27FC236}">
                      <a16:creationId xmlns:a16="http://schemas.microsoft.com/office/drawing/2014/main" id="{43D75702-F7CB-40D4-80A1-8E410AADCD29}"/>
                    </a:ext>
                  </a:extLst>
                </p:cNvPr>
                <p:cNvSpPr/>
                <p:nvPr/>
              </p:nvSpPr>
              <p:spPr bwMode="auto">
                <a:xfrm>
                  <a:off x="6561138" y="3733801"/>
                  <a:ext cx="28575" cy="4763"/>
                </a:xfrm>
                <a:custGeom>
                  <a:avLst/>
                  <a:gdLst>
                    <a:gd name="T0" fmla="*/ 0 w 7"/>
                    <a:gd name="T1" fmla="*/ 0 h 1"/>
                    <a:gd name="T2" fmla="*/ 0 w 7"/>
                    <a:gd name="T3" fmla="*/ 0 h 1"/>
                    <a:gd name="T4" fmla="*/ 7 w 7"/>
                    <a:gd name="T5" fmla="*/ 1 h 1"/>
                    <a:gd name="T6" fmla="*/ 7 w 7"/>
                    <a:gd name="T7" fmla="*/ 1 h 1"/>
                    <a:gd name="T8" fmla="*/ 7 w 7"/>
                    <a:gd name="T9" fmla="*/ 1 h 1"/>
                    <a:gd name="T10" fmla="*/ 7 w 7"/>
                    <a:gd name="T11" fmla="*/ 1 h 1"/>
                    <a:gd name="T12" fmla="*/ 7 w 7"/>
                    <a:gd name="T13" fmla="*/ 1 h 1"/>
                    <a:gd name="T14" fmla="*/ 0 w 7"/>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
                      <a:moveTo>
                        <a:pt x="0" y="0"/>
                      </a:moveTo>
                      <a:cubicBezTo>
                        <a:pt x="0" y="0"/>
                        <a:pt x="0" y="0"/>
                        <a:pt x="0" y="0"/>
                      </a:cubicBezTo>
                      <a:cubicBezTo>
                        <a:pt x="2" y="0"/>
                        <a:pt x="4" y="1"/>
                        <a:pt x="7" y="1"/>
                      </a:cubicBezTo>
                      <a:cubicBezTo>
                        <a:pt x="7" y="1"/>
                        <a:pt x="7" y="1"/>
                        <a:pt x="7" y="1"/>
                      </a:cubicBezTo>
                      <a:cubicBezTo>
                        <a:pt x="7" y="1"/>
                        <a:pt x="7" y="1"/>
                        <a:pt x="7" y="1"/>
                      </a:cubicBezTo>
                      <a:cubicBezTo>
                        <a:pt x="7" y="1"/>
                        <a:pt x="7" y="1"/>
                        <a:pt x="7" y="1"/>
                      </a:cubicBezTo>
                      <a:cubicBezTo>
                        <a:pt x="7" y="1"/>
                        <a:pt x="7" y="1"/>
                        <a:pt x="7" y="1"/>
                      </a:cubicBezTo>
                      <a:cubicBezTo>
                        <a:pt x="4" y="1"/>
                        <a:pt x="2" y="0"/>
                        <a:pt x="0" y="0"/>
                      </a:cubicBezTo>
                    </a:path>
                  </a:pathLst>
                </a:custGeom>
                <a:solidFill>
                  <a:srgbClr val="F6A49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8" name="íşļidê">
                  <a:extLst>
                    <a:ext uri="{FF2B5EF4-FFF2-40B4-BE49-F238E27FC236}">
                      <a16:creationId xmlns:a16="http://schemas.microsoft.com/office/drawing/2014/main" id="{692AE5AC-CBD6-4300-9883-55E148AC032B}"/>
                    </a:ext>
                  </a:extLst>
                </p:cNvPr>
                <p:cNvSpPr/>
                <p:nvPr/>
              </p:nvSpPr>
              <p:spPr bwMode="auto">
                <a:xfrm>
                  <a:off x="6480176" y="3549651"/>
                  <a:ext cx="219075" cy="188913"/>
                </a:xfrm>
                <a:custGeom>
                  <a:avLst/>
                  <a:gdLst>
                    <a:gd name="T0" fmla="*/ 41 w 56"/>
                    <a:gd name="T1" fmla="*/ 41 h 48"/>
                    <a:gd name="T2" fmla="*/ 41 w 56"/>
                    <a:gd name="T3" fmla="*/ 40 h 48"/>
                    <a:gd name="T4" fmla="*/ 41 w 56"/>
                    <a:gd name="T5" fmla="*/ 41 h 48"/>
                    <a:gd name="T6" fmla="*/ 25 w 56"/>
                    <a:gd name="T7" fmla="*/ 41 h 48"/>
                    <a:gd name="T8" fmla="*/ 25 w 56"/>
                    <a:gd name="T9" fmla="*/ 40 h 48"/>
                    <a:gd name="T10" fmla="*/ 25 w 56"/>
                    <a:gd name="T11" fmla="*/ 40 h 48"/>
                    <a:gd name="T12" fmla="*/ 28 w 56"/>
                    <a:gd name="T13" fmla="*/ 39 h 48"/>
                    <a:gd name="T14" fmla="*/ 31 w 56"/>
                    <a:gd name="T15" fmla="*/ 39 h 48"/>
                    <a:gd name="T16" fmla="*/ 31 w 56"/>
                    <a:gd name="T17" fmla="*/ 40 h 48"/>
                    <a:gd name="T18" fmla="*/ 30 w 56"/>
                    <a:gd name="T19" fmla="*/ 41 h 48"/>
                    <a:gd name="T20" fmla="*/ 28 w 56"/>
                    <a:gd name="T21" fmla="*/ 40 h 48"/>
                    <a:gd name="T22" fmla="*/ 26 w 56"/>
                    <a:gd name="T23" fmla="*/ 41 h 48"/>
                    <a:gd name="T24" fmla="*/ 25 w 56"/>
                    <a:gd name="T25" fmla="*/ 41 h 48"/>
                    <a:gd name="T26" fmla="*/ 55 w 56"/>
                    <a:gd name="T27" fmla="*/ 0 h 48"/>
                    <a:gd name="T28" fmla="*/ 33 w 56"/>
                    <a:gd name="T29" fmla="*/ 36 h 48"/>
                    <a:gd name="T30" fmla="*/ 28 w 56"/>
                    <a:gd name="T31" fmla="*/ 37 h 48"/>
                    <a:gd name="T32" fmla="*/ 23 w 56"/>
                    <a:gd name="T33" fmla="*/ 36 h 48"/>
                    <a:gd name="T34" fmla="*/ 0 w 56"/>
                    <a:gd name="T35" fmla="*/ 1 h 48"/>
                    <a:gd name="T36" fmla="*/ 0 w 56"/>
                    <a:gd name="T37" fmla="*/ 13 h 48"/>
                    <a:gd name="T38" fmla="*/ 0 w 56"/>
                    <a:gd name="T39" fmla="*/ 13 h 48"/>
                    <a:gd name="T40" fmla="*/ 0 w 56"/>
                    <a:gd name="T41" fmla="*/ 20 h 48"/>
                    <a:gd name="T42" fmla="*/ 21 w 56"/>
                    <a:gd name="T43" fmla="*/ 47 h 48"/>
                    <a:gd name="T44" fmla="*/ 28 w 56"/>
                    <a:gd name="T45" fmla="*/ 48 h 48"/>
                    <a:gd name="T46" fmla="*/ 28 w 56"/>
                    <a:gd name="T47" fmla="*/ 48 h 48"/>
                    <a:gd name="T48" fmla="*/ 56 w 56"/>
                    <a:gd name="T49" fmla="*/ 20 h 48"/>
                    <a:gd name="T50" fmla="*/ 56 w 56"/>
                    <a:gd name="T51" fmla="*/ 7 h 48"/>
                    <a:gd name="T52" fmla="*/ 56 w 56"/>
                    <a:gd name="T53" fmla="*/ 0 h 48"/>
                    <a:gd name="T54" fmla="*/ 55 w 56"/>
                    <a:gd name="T5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48">
                      <a:moveTo>
                        <a:pt x="41" y="41"/>
                      </a:moveTo>
                      <a:cubicBezTo>
                        <a:pt x="41" y="40"/>
                        <a:pt x="41" y="40"/>
                        <a:pt x="41" y="40"/>
                      </a:cubicBezTo>
                      <a:cubicBezTo>
                        <a:pt x="41" y="41"/>
                        <a:pt x="41" y="41"/>
                        <a:pt x="41" y="41"/>
                      </a:cubicBezTo>
                      <a:moveTo>
                        <a:pt x="25" y="41"/>
                      </a:moveTo>
                      <a:cubicBezTo>
                        <a:pt x="25" y="40"/>
                        <a:pt x="25" y="40"/>
                        <a:pt x="25" y="40"/>
                      </a:cubicBezTo>
                      <a:cubicBezTo>
                        <a:pt x="25" y="40"/>
                        <a:pt x="25" y="40"/>
                        <a:pt x="25" y="40"/>
                      </a:cubicBezTo>
                      <a:cubicBezTo>
                        <a:pt x="26" y="39"/>
                        <a:pt x="27" y="39"/>
                        <a:pt x="28" y="39"/>
                      </a:cubicBezTo>
                      <a:cubicBezTo>
                        <a:pt x="29" y="39"/>
                        <a:pt x="30" y="39"/>
                        <a:pt x="31" y="39"/>
                      </a:cubicBezTo>
                      <a:cubicBezTo>
                        <a:pt x="31" y="40"/>
                        <a:pt x="31" y="40"/>
                        <a:pt x="31" y="40"/>
                      </a:cubicBezTo>
                      <a:cubicBezTo>
                        <a:pt x="30" y="41"/>
                        <a:pt x="30" y="41"/>
                        <a:pt x="30" y="41"/>
                      </a:cubicBezTo>
                      <a:cubicBezTo>
                        <a:pt x="30" y="40"/>
                        <a:pt x="29" y="40"/>
                        <a:pt x="28" y="40"/>
                      </a:cubicBezTo>
                      <a:cubicBezTo>
                        <a:pt x="27" y="40"/>
                        <a:pt x="26" y="40"/>
                        <a:pt x="26" y="41"/>
                      </a:cubicBezTo>
                      <a:cubicBezTo>
                        <a:pt x="25" y="41"/>
                        <a:pt x="25" y="41"/>
                        <a:pt x="25" y="41"/>
                      </a:cubicBezTo>
                      <a:moveTo>
                        <a:pt x="55" y="0"/>
                      </a:moveTo>
                      <a:cubicBezTo>
                        <a:pt x="55" y="0"/>
                        <a:pt x="54" y="28"/>
                        <a:pt x="33" y="36"/>
                      </a:cubicBezTo>
                      <a:cubicBezTo>
                        <a:pt x="31" y="36"/>
                        <a:pt x="29" y="37"/>
                        <a:pt x="28" y="37"/>
                      </a:cubicBezTo>
                      <a:cubicBezTo>
                        <a:pt x="26" y="37"/>
                        <a:pt x="25" y="36"/>
                        <a:pt x="23" y="36"/>
                      </a:cubicBezTo>
                      <a:cubicBezTo>
                        <a:pt x="4" y="28"/>
                        <a:pt x="1" y="6"/>
                        <a:pt x="0" y="1"/>
                      </a:cubicBezTo>
                      <a:cubicBezTo>
                        <a:pt x="0" y="13"/>
                        <a:pt x="0" y="13"/>
                        <a:pt x="0" y="13"/>
                      </a:cubicBezTo>
                      <a:cubicBezTo>
                        <a:pt x="0" y="13"/>
                        <a:pt x="0" y="13"/>
                        <a:pt x="0" y="13"/>
                      </a:cubicBezTo>
                      <a:cubicBezTo>
                        <a:pt x="0" y="20"/>
                        <a:pt x="0" y="20"/>
                        <a:pt x="0" y="20"/>
                      </a:cubicBezTo>
                      <a:cubicBezTo>
                        <a:pt x="0" y="33"/>
                        <a:pt x="9" y="44"/>
                        <a:pt x="21" y="47"/>
                      </a:cubicBezTo>
                      <a:cubicBezTo>
                        <a:pt x="23" y="47"/>
                        <a:pt x="25" y="48"/>
                        <a:pt x="28" y="48"/>
                      </a:cubicBezTo>
                      <a:cubicBezTo>
                        <a:pt x="28" y="48"/>
                        <a:pt x="28" y="48"/>
                        <a:pt x="28" y="48"/>
                      </a:cubicBezTo>
                      <a:cubicBezTo>
                        <a:pt x="43" y="48"/>
                        <a:pt x="56" y="35"/>
                        <a:pt x="56" y="20"/>
                      </a:cubicBezTo>
                      <a:cubicBezTo>
                        <a:pt x="56" y="7"/>
                        <a:pt x="56" y="7"/>
                        <a:pt x="56" y="7"/>
                      </a:cubicBezTo>
                      <a:cubicBezTo>
                        <a:pt x="56" y="0"/>
                        <a:pt x="56" y="0"/>
                        <a:pt x="56" y="0"/>
                      </a:cubicBezTo>
                      <a:cubicBezTo>
                        <a:pt x="55" y="0"/>
                        <a:pt x="55" y="0"/>
                        <a:pt x="55" y="0"/>
                      </a:cubicBezTo>
                    </a:path>
                  </a:pathLst>
                </a:custGeom>
                <a:solidFill>
                  <a:srgbClr val="F7CFB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99" name="íšlîḓe">
                  <a:extLst>
                    <a:ext uri="{FF2B5EF4-FFF2-40B4-BE49-F238E27FC236}">
                      <a16:creationId xmlns:a16="http://schemas.microsoft.com/office/drawing/2014/main" id="{0A5F1759-D9F1-440D-A04E-681FDD19BA3E}"/>
                    </a:ext>
                  </a:extLst>
                </p:cNvPr>
                <p:cNvSpPr/>
                <p:nvPr/>
              </p:nvSpPr>
              <p:spPr bwMode="auto">
                <a:xfrm>
                  <a:off x="6577013" y="3703638"/>
                  <a:ext cx="23813" cy="7938"/>
                </a:xfrm>
                <a:custGeom>
                  <a:avLst/>
                  <a:gdLst>
                    <a:gd name="T0" fmla="*/ 3 w 6"/>
                    <a:gd name="T1" fmla="*/ 0 h 2"/>
                    <a:gd name="T2" fmla="*/ 0 w 6"/>
                    <a:gd name="T3" fmla="*/ 1 h 2"/>
                    <a:gd name="T4" fmla="*/ 0 w 6"/>
                    <a:gd name="T5" fmla="*/ 1 h 2"/>
                    <a:gd name="T6" fmla="*/ 0 w 6"/>
                    <a:gd name="T7" fmla="*/ 2 h 2"/>
                    <a:gd name="T8" fmla="*/ 1 w 6"/>
                    <a:gd name="T9" fmla="*/ 2 h 2"/>
                    <a:gd name="T10" fmla="*/ 3 w 6"/>
                    <a:gd name="T11" fmla="*/ 1 h 2"/>
                    <a:gd name="T12" fmla="*/ 5 w 6"/>
                    <a:gd name="T13" fmla="*/ 2 h 2"/>
                    <a:gd name="T14" fmla="*/ 6 w 6"/>
                    <a:gd name="T15" fmla="*/ 1 h 2"/>
                    <a:gd name="T16" fmla="*/ 6 w 6"/>
                    <a:gd name="T17" fmla="*/ 0 h 2"/>
                    <a:gd name="T18" fmla="*/ 3 w 6"/>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3" y="0"/>
                      </a:moveTo>
                      <a:cubicBezTo>
                        <a:pt x="2" y="0"/>
                        <a:pt x="1" y="0"/>
                        <a:pt x="0" y="1"/>
                      </a:cubicBezTo>
                      <a:cubicBezTo>
                        <a:pt x="0" y="1"/>
                        <a:pt x="0" y="1"/>
                        <a:pt x="0" y="1"/>
                      </a:cubicBezTo>
                      <a:cubicBezTo>
                        <a:pt x="0" y="2"/>
                        <a:pt x="0" y="2"/>
                        <a:pt x="0" y="2"/>
                      </a:cubicBezTo>
                      <a:cubicBezTo>
                        <a:pt x="1" y="2"/>
                        <a:pt x="1" y="2"/>
                        <a:pt x="1" y="2"/>
                      </a:cubicBezTo>
                      <a:cubicBezTo>
                        <a:pt x="1" y="1"/>
                        <a:pt x="2" y="1"/>
                        <a:pt x="3" y="1"/>
                      </a:cubicBezTo>
                      <a:cubicBezTo>
                        <a:pt x="4" y="1"/>
                        <a:pt x="5" y="1"/>
                        <a:pt x="5" y="2"/>
                      </a:cubicBezTo>
                      <a:cubicBezTo>
                        <a:pt x="6" y="1"/>
                        <a:pt x="6" y="1"/>
                        <a:pt x="6" y="1"/>
                      </a:cubicBezTo>
                      <a:cubicBezTo>
                        <a:pt x="6" y="0"/>
                        <a:pt x="6" y="0"/>
                        <a:pt x="6" y="0"/>
                      </a:cubicBezTo>
                      <a:cubicBezTo>
                        <a:pt x="5" y="0"/>
                        <a:pt x="4" y="0"/>
                        <a:pt x="3" y="0"/>
                      </a:cubicBezTo>
                    </a:path>
                  </a:pathLst>
                </a:custGeom>
                <a:solidFill>
                  <a:srgbClr val="F7A584"/>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0" name="işlíďé">
                  <a:extLst>
                    <a:ext uri="{FF2B5EF4-FFF2-40B4-BE49-F238E27FC236}">
                      <a16:creationId xmlns:a16="http://schemas.microsoft.com/office/drawing/2014/main" id="{EC626DDC-3EFC-492E-A26B-0C02A34D26CD}"/>
                    </a:ext>
                  </a:extLst>
                </p:cNvPr>
                <p:cNvSpPr/>
                <p:nvPr/>
              </p:nvSpPr>
              <p:spPr bwMode="auto">
                <a:xfrm>
                  <a:off x="6699251" y="3549651"/>
                  <a:ext cx="0" cy="36513"/>
                </a:xfrm>
                <a:custGeom>
                  <a:avLst/>
                  <a:gdLst>
                    <a:gd name="T0" fmla="*/ 0 h 23"/>
                    <a:gd name="T1" fmla="*/ 18 h 23"/>
                    <a:gd name="T2" fmla="*/ 23 h 23"/>
                    <a:gd name="T3" fmla="*/ 0 h 23"/>
                    <a:gd name="T4" fmla="*/ 0 h 23"/>
                  </a:gdLst>
                  <a:ahLst/>
                  <a:cxnLst>
                    <a:cxn ang="0">
                      <a:pos x="0" y="T0"/>
                    </a:cxn>
                    <a:cxn ang="0">
                      <a:pos x="0" y="T1"/>
                    </a:cxn>
                    <a:cxn ang="0">
                      <a:pos x="0" y="T2"/>
                    </a:cxn>
                    <a:cxn ang="0">
                      <a:pos x="0" y="T3"/>
                    </a:cxn>
                    <a:cxn ang="0">
                      <a:pos x="0" y="T4"/>
                    </a:cxn>
                  </a:cxnLst>
                  <a:rect l="0" t="0" r="r" b="b"/>
                  <a:pathLst>
                    <a:path h="23">
                      <a:moveTo>
                        <a:pt x="0" y="0"/>
                      </a:moveTo>
                      <a:lnTo>
                        <a:pt x="0" y="18"/>
                      </a:lnTo>
                      <a:lnTo>
                        <a:pt x="0" y="23"/>
                      </a:lnTo>
                      <a:lnTo>
                        <a:pt x="0" y="0"/>
                      </a:lnTo>
                      <a:lnTo>
                        <a:pt x="0" y="0"/>
                      </a:lnTo>
                      <a:close/>
                    </a:path>
                  </a:pathLst>
                </a:custGeom>
                <a:solidFill>
                  <a:srgbClr val="F6A49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1" name="ïsľîḍé">
                  <a:extLst>
                    <a:ext uri="{FF2B5EF4-FFF2-40B4-BE49-F238E27FC236}">
                      <a16:creationId xmlns:a16="http://schemas.microsoft.com/office/drawing/2014/main" id="{C4F4845A-DD26-45ED-823A-6864979B4F26}"/>
                    </a:ext>
                  </a:extLst>
                </p:cNvPr>
                <p:cNvSpPr/>
                <p:nvPr/>
              </p:nvSpPr>
              <p:spPr bwMode="auto">
                <a:xfrm>
                  <a:off x="6699251" y="3549651"/>
                  <a:ext cx="0" cy="36513"/>
                </a:xfrm>
                <a:custGeom>
                  <a:avLst/>
                  <a:gdLst>
                    <a:gd name="T0" fmla="*/ 0 h 23"/>
                    <a:gd name="T1" fmla="*/ 18 h 23"/>
                    <a:gd name="T2" fmla="*/ 23 h 23"/>
                    <a:gd name="T3" fmla="*/ 0 h 23"/>
                    <a:gd name="T4" fmla="*/ 0 h 23"/>
                  </a:gdLst>
                  <a:ahLst/>
                  <a:cxnLst>
                    <a:cxn ang="0">
                      <a:pos x="0" y="T0"/>
                    </a:cxn>
                    <a:cxn ang="0">
                      <a:pos x="0" y="T1"/>
                    </a:cxn>
                    <a:cxn ang="0">
                      <a:pos x="0" y="T2"/>
                    </a:cxn>
                    <a:cxn ang="0">
                      <a:pos x="0" y="T3"/>
                    </a:cxn>
                    <a:cxn ang="0">
                      <a:pos x="0" y="T4"/>
                    </a:cxn>
                  </a:cxnLst>
                  <a:rect l="0" t="0" r="r" b="b"/>
                  <a:pathLst>
                    <a:path h="23">
                      <a:moveTo>
                        <a:pt x="0" y="0"/>
                      </a:moveTo>
                      <a:lnTo>
                        <a:pt x="0" y="18"/>
                      </a:lnTo>
                      <a:lnTo>
                        <a:pt x="0" y="2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2" name="îśľiḋé">
                  <a:extLst>
                    <a:ext uri="{FF2B5EF4-FFF2-40B4-BE49-F238E27FC236}">
                      <a16:creationId xmlns:a16="http://schemas.microsoft.com/office/drawing/2014/main" id="{114C2129-1696-4173-98D5-65AAE9B8D30D}"/>
                    </a:ext>
                  </a:extLst>
                </p:cNvPr>
                <p:cNvSpPr/>
                <p:nvPr/>
              </p:nvSpPr>
              <p:spPr bwMode="auto">
                <a:xfrm>
                  <a:off x="6480176" y="3549651"/>
                  <a:ext cx="0" cy="52388"/>
                </a:xfrm>
                <a:custGeom>
                  <a:avLst/>
                  <a:gdLst>
                    <a:gd name="T0" fmla="*/ 0 h 13"/>
                    <a:gd name="T1" fmla="*/ 0 h 13"/>
                    <a:gd name="T2" fmla="*/ 13 h 13"/>
                    <a:gd name="T3" fmla="*/ 13 h 13"/>
                    <a:gd name="T4" fmla="*/ 13 h 13"/>
                    <a:gd name="T5" fmla="*/ 13 h 13"/>
                    <a:gd name="T6" fmla="*/ 1 h 13"/>
                    <a:gd name="T7" fmla="*/ 0 h 1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3">
                      <a:moveTo>
                        <a:pt x="0" y="0"/>
                      </a:moveTo>
                      <a:cubicBezTo>
                        <a:pt x="0" y="0"/>
                        <a:pt x="0" y="0"/>
                        <a:pt x="0" y="0"/>
                      </a:cubicBezTo>
                      <a:cubicBezTo>
                        <a:pt x="0" y="13"/>
                        <a:pt x="0" y="13"/>
                        <a:pt x="0" y="13"/>
                      </a:cubicBezTo>
                      <a:cubicBezTo>
                        <a:pt x="0" y="13"/>
                        <a:pt x="0" y="13"/>
                        <a:pt x="0" y="13"/>
                      </a:cubicBezTo>
                      <a:cubicBezTo>
                        <a:pt x="0" y="13"/>
                        <a:pt x="0" y="13"/>
                        <a:pt x="0" y="13"/>
                      </a:cubicBezTo>
                      <a:cubicBezTo>
                        <a:pt x="0" y="13"/>
                        <a:pt x="0" y="13"/>
                        <a:pt x="0" y="13"/>
                      </a:cubicBezTo>
                      <a:cubicBezTo>
                        <a:pt x="0" y="1"/>
                        <a:pt x="0" y="1"/>
                        <a:pt x="0" y="1"/>
                      </a:cubicBezTo>
                      <a:cubicBezTo>
                        <a:pt x="0" y="1"/>
                        <a:pt x="0" y="0"/>
                        <a:pt x="0" y="0"/>
                      </a:cubicBezTo>
                    </a:path>
                  </a:pathLst>
                </a:custGeom>
                <a:solidFill>
                  <a:srgbClr val="F6A49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3" name="ïṧḷîḍè">
                  <a:extLst>
                    <a:ext uri="{FF2B5EF4-FFF2-40B4-BE49-F238E27FC236}">
                      <a16:creationId xmlns:a16="http://schemas.microsoft.com/office/drawing/2014/main" id="{62A762A0-E5AE-4A56-9E93-50D8A913EADD}"/>
                    </a:ext>
                  </a:extLst>
                </p:cNvPr>
                <p:cNvSpPr/>
                <p:nvPr/>
              </p:nvSpPr>
              <p:spPr bwMode="auto">
                <a:xfrm>
                  <a:off x="6640513" y="3706813"/>
                  <a:ext cx="0" cy="4763"/>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close/>
                    </a:path>
                  </a:pathLst>
                </a:custGeom>
                <a:solidFill>
                  <a:srgbClr val="F7CFB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4" name="iŝlíḍê">
                  <a:extLst>
                    <a:ext uri="{FF2B5EF4-FFF2-40B4-BE49-F238E27FC236}">
                      <a16:creationId xmlns:a16="http://schemas.microsoft.com/office/drawing/2014/main" id="{F6ADB7BA-3E92-4AD2-BE2E-1ACDC6E18447}"/>
                    </a:ext>
                  </a:extLst>
                </p:cNvPr>
                <p:cNvSpPr/>
                <p:nvPr/>
              </p:nvSpPr>
              <p:spPr bwMode="auto">
                <a:xfrm>
                  <a:off x="6640513" y="3706813"/>
                  <a:ext cx="0" cy="4763"/>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5" name="íšḷíďé">
                  <a:extLst>
                    <a:ext uri="{FF2B5EF4-FFF2-40B4-BE49-F238E27FC236}">
                      <a16:creationId xmlns:a16="http://schemas.microsoft.com/office/drawing/2014/main" id="{96904E8C-80D8-4F98-84A3-D3966C452614}"/>
                    </a:ext>
                  </a:extLst>
                </p:cNvPr>
                <p:cNvSpPr/>
                <p:nvPr/>
              </p:nvSpPr>
              <p:spPr bwMode="auto">
                <a:xfrm>
                  <a:off x="6464301" y="3354388"/>
                  <a:ext cx="261938" cy="192088"/>
                </a:xfrm>
                <a:custGeom>
                  <a:avLst/>
                  <a:gdLst>
                    <a:gd name="T0" fmla="*/ 57 w 67"/>
                    <a:gd name="T1" fmla="*/ 17 h 49"/>
                    <a:gd name="T2" fmla="*/ 23 w 67"/>
                    <a:gd name="T3" fmla="*/ 4 h 49"/>
                    <a:gd name="T4" fmla="*/ 14 w 67"/>
                    <a:gd name="T5" fmla="*/ 10 h 49"/>
                    <a:gd name="T6" fmla="*/ 4 w 67"/>
                    <a:gd name="T7" fmla="*/ 49 h 49"/>
                    <a:gd name="T8" fmla="*/ 21 w 67"/>
                    <a:gd name="T9" fmla="*/ 26 h 49"/>
                    <a:gd name="T10" fmla="*/ 21 w 67"/>
                    <a:gd name="T11" fmla="*/ 26 h 49"/>
                    <a:gd name="T12" fmla="*/ 59 w 67"/>
                    <a:gd name="T13" fmla="*/ 39 h 49"/>
                    <a:gd name="T14" fmla="*/ 60 w 67"/>
                    <a:gd name="T15" fmla="*/ 49 h 49"/>
                    <a:gd name="T16" fmla="*/ 57 w 67"/>
                    <a:gd name="T17"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49">
                      <a:moveTo>
                        <a:pt x="57" y="17"/>
                      </a:moveTo>
                      <a:cubicBezTo>
                        <a:pt x="53" y="8"/>
                        <a:pt x="44" y="0"/>
                        <a:pt x="23" y="4"/>
                      </a:cubicBezTo>
                      <a:cubicBezTo>
                        <a:pt x="23" y="4"/>
                        <a:pt x="18" y="4"/>
                        <a:pt x="14" y="10"/>
                      </a:cubicBezTo>
                      <a:cubicBezTo>
                        <a:pt x="8" y="11"/>
                        <a:pt x="0" y="17"/>
                        <a:pt x="4" y="49"/>
                      </a:cubicBezTo>
                      <a:cubicBezTo>
                        <a:pt x="4" y="49"/>
                        <a:pt x="9" y="13"/>
                        <a:pt x="21" y="26"/>
                      </a:cubicBezTo>
                      <a:cubicBezTo>
                        <a:pt x="21" y="26"/>
                        <a:pt x="21" y="26"/>
                        <a:pt x="21" y="26"/>
                      </a:cubicBezTo>
                      <a:cubicBezTo>
                        <a:pt x="25" y="31"/>
                        <a:pt x="35" y="39"/>
                        <a:pt x="59" y="39"/>
                      </a:cubicBezTo>
                      <a:cubicBezTo>
                        <a:pt x="60" y="45"/>
                        <a:pt x="60" y="49"/>
                        <a:pt x="60" y="49"/>
                      </a:cubicBezTo>
                      <a:cubicBezTo>
                        <a:pt x="67" y="25"/>
                        <a:pt x="61" y="19"/>
                        <a:pt x="57" y="17"/>
                      </a:cubicBezTo>
                    </a:path>
                  </a:pathLst>
                </a:custGeom>
                <a:solidFill>
                  <a:srgbClr val="27282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106" name="îṣļíḋè">
                  <a:extLst>
                    <a:ext uri="{FF2B5EF4-FFF2-40B4-BE49-F238E27FC236}">
                      <a16:creationId xmlns:a16="http://schemas.microsoft.com/office/drawing/2014/main" id="{55DB607E-9269-4599-AF04-76050893A775}"/>
                    </a:ext>
                  </a:extLst>
                </p:cNvPr>
                <p:cNvSpPr/>
                <p:nvPr/>
              </p:nvSpPr>
              <p:spPr bwMode="auto">
                <a:xfrm>
                  <a:off x="6526213" y="3425826"/>
                  <a:ext cx="184150" cy="69850"/>
                </a:xfrm>
                <a:custGeom>
                  <a:avLst/>
                  <a:gdLst>
                    <a:gd name="T0" fmla="*/ 1 w 47"/>
                    <a:gd name="T1" fmla="*/ 0 h 18"/>
                    <a:gd name="T2" fmla="*/ 0 w 47"/>
                    <a:gd name="T3" fmla="*/ 0 h 18"/>
                    <a:gd name="T4" fmla="*/ 0 w 47"/>
                    <a:gd name="T5" fmla="*/ 1 h 18"/>
                    <a:gd name="T6" fmla="*/ 1 w 47"/>
                    <a:gd name="T7" fmla="*/ 1 h 18"/>
                    <a:gd name="T8" fmla="*/ 8 w 47"/>
                    <a:gd name="T9" fmla="*/ 5 h 18"/>
                    <a:gd name="T10" fmla="*/ 17 w 47"/>
                    <a:gd name="T11" fmla="*/ 13 h 18"/>
                    <a:gd name="T12" fmla="*/ 47 w 47"/>
                    <a:gd name="T13" fmla="*/ 18 h 18"/>
                    <a:gd name="T14" fmla="*/ 47 w 47"/>
                    <a:gd name="T15" fmla="*/ 17 h 18"/>
                    <a:gd name="T16" fmla="*/ 18 w 47"/>
                    <a:gd name="T17" fmla="*/ 12 h 18"/>
                    <a:gd name="T18" fmla="*/ 9 w 47"/>
                    <a:gd name="T19" fmla="*/ 4 h 18"/>
                    <a:gd name="T20" fmla="*/ 1 w 47"/>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18">
                      <a:moveTo>
                        <a:pt x="1" y="0"/>
                      </a:moveTo>
                      <a:cubicBezTo>
                        <a:pt x="0" y="0"/>
                        <a:pt x="0" y="0"/>
                        <a:pt x="0" y="0"/>
                      </a:cubicBezTo>
                      <a:cubicBezTo>
                        <a:pt x="0" y="1"/>
                        <a:pt x="0" y="1"/>
                        <a:pt x="0" y="1"/>
                      </a:cubicBezTo>
                      <a:cubicBezTo>
                        <a:pt x="0" y="1"/>
                        <a:pt x="1" y="1"/>
                        <a:pt x="1" y="1"/>
                      </a:cubicBezTo>
                      <a:cubicBezTo>
                        <a:pt x="3" y="1"/>
                        <a:pt x="6" y="2"/>
                        <a:pt x="8" y="5"/>
                      </a:cubicBezTo>
                      <a:cubicBezTo>
                        <a:pt x="11" y="8"/>
                        <a:pt x="14" y="11"/>
                        <a:pt x="17" y="13"/>
                      </a:cubicBezTo>
                      <a:cubicBezTo>
                        <a:pt x="23" y="15"/>
                        <a:pt x="32" y="18"/>
                        <a:pt x="47" y="18"/>
                      </a:cubicBezTo>
                      <a:cubicBezTo>
                        <a:pt x="47" y="17"/>
                        <a:pt x="47" y="17"/>
                        <a:pt x="47" y="17"/>
                      </a:cubicBezTo>
                      <a:cubicBezTo>
                        <a:pt x="32" y="17"/>
                        <a:pt x="23" y="14"/>
                        <a:pt x="18" y="12"/>
                      </a:cubicBezTo>
                      <a:cubicBezTo>
                        <a:pt x="14" y="10"/>
                        <a:pt x="12" y="8"/>
                        <a:pt x="9" y="4"/>
                      </a:cubicBezTo>
                      <a:cubicBezTo>
                        <a:pt x="7" y="1"/>
                        <a:pt x="3" y="0"/>
                        <a:pt x="1" y="0"/>
                      </a:cubicBezTo>
                    </a:path>
                  </a:pathLst>
                </a:custGeom>
                <a:solidFill>
                  <a:srgbClr val="3C3D3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7" name="íṣļïḍê">
                  <a:extLst>
                    <a:ext uri="{FF2B5EF4-FFF2-40B4-BE49-F238E27FC236}">
                      <a16:creationId xmlns:a16="http://schemas.microsoft.com/office/drawing/2014/main" id="{A2801454-761B-44B1-BFDE-EEC4D2537006}"/>
                    </a:ext>
                  </a:extLst>
                </p:cNvPr>
                <p:cNvSpPr/>
                <p:nvPr/>
              </p:nvSpPr>
              <p:spPr bwMode="auto">
                <a:xfrm>
                  <a:off x="6526213" y="3402013"/>
                  <a:ext cx="184150" cy="61913"/>
                </a:xfrm>
                <a:custGeom>
                  <a:avLst/>
                  <a:gdLst>
                    <a:gd name="T0" fmla="*/ 4 w 47"/>
                    <a:gd name="T1" fmla="*/ 0 h 16"/>
                    <a:gd name="T2" fmla="*/ 0 w 47"/>
                    <a:gd name="T3" fmla="*/ 1 h 16"/>
                    <a:gd name="T4" fmla="*/ 0 w 47"/>
                    <a:gd name="T5" fmla="*/ 2 h 16"/>
                    <a:gd name="T6" fmla="*/ 4 w 47"/>
                    <a:gd name="T7" fmla="*/ 1 h 16"/>
                    <a:gd name="T8" fmla="*/ 15 w 47"/>
                    <a:gd name="T9" fmla="*/ 7 h 16"/>
                    <a:gd name="T10" fmla="*/ 15 w 47"/>
                    <a:gd name="T11" fmla="*/ 7 h 16"/>
                    <a:gd name="T12" fmla="*/ 47 w 47"/>
                    <a:gd name="T13" fmla="*/ 16 h 16"/>
                    <a:gd name="T14" fmla="*/ 47 w 47"/>
                    <a:gd name="T15" fmla="*/ 15 h 16"/>
                    <a:gd name="T16" fmla="*/ 16 w 47"/>
                    <a:gd name="T17" fmla="*/ 7 h 16"/>
                    <a:gd name="T18" fmla="*/ 16 w 47"/>
                    <a:gd name="T19" fmla="*/ 6 h 16"/>
                    <a:gd name="T20" fmla="*/ 4 w 4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16">
                      <a:moveTo>
                        <a:pt x="4" y="0"/>
                      </a:moveTo>
                      <a:cubicBezTo>
                        <a:pt x="2" y="0"/>
                        <a:pt x="0" y="1"/>
                        <a:pt x="0" y="1"/>
                      </a:cubicBezTo>
                      <a:cubicBezTo>
                        <a:pt x="0" y="2"/>
                        <a:pt x="0" y="2"/>
                        <a:pt x="0" y="2"/>
                      </a:cubicBezTo>
                      <a:cubicBezTo>
                        <a:pt x="0" y="2"/>
                        <a:pt x="2" y="1"/>
                        <a:pt x="4" y="1"/>
                      </a:cubicBezTo>
                      <a:cubicBezTo>
                        <a:pt x="8" y="1"/>
                        <a:pt x="12" y="2"/>
                        <a:pt x="15" y="7"/>
                      </a:cubicBezTo>
                      <a:cubicBezTo>
                        <a:pt x="15" y="7"/>
                        <a:pt x="15" y="7"/>
                        <a:pt x="15" y="7"/>
                      </a:cubicBezTo>
                      <a:cubicBezTo>
                        <a:pt x="18" y="12"/>
                        <a:pt x="29" y="15"/>
                        <a:pt x="47" y="16"/>
                      </a:cubicBezTo>
                      <a:cubicBezTo>
                        <a:pt x="47" y="15"/>
                        <a:pt x="47" y="15"/>
                        <a:pt x="47" y="15"/>
                      </a:cubicBezTo>
                      <a:cubicBezTo>
                        <a:pt x="23" y="14"/>
                        <a:pt x="17" y="9"/>
                        <a:pt x="16" y="7"/>
                      </a:cubicBezTo>
                      <a:cubicBezTo>
                        <a:pt x="16" y="6"/>
                        <a:pt x="16" y="6"/>
                        <a:pt x="16" y="6"/>
                      </a:cubicBezTo>
                      <a:cubicBezTo>
                        <a:pt x="12" y="1"/>
                        <a:pt x="8" y="0"/>
                        <a:pt x="4" y="0"/>
                      </a:cubicBezTo>
                    </a:path>
                  </a:pathLst>
                </a:custGeom>
                <a:solidFill>
                  <a:srgbClr val="3C3D3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8" name="í$ļîḓê">
                  <a:extLst>
                    <a:ext uri="{FF2B5EF4-FFF2-40B4-BE49-F238E27FC236}">
                      <a16:creationId xmlns:a16="http://schemas.microsoft.com/office/drawing/2014/main" id="{A9FFAAF7-AC7E-4CAD-94A6-AC006704FE19}"/>
                    </a:ext>
                  </a:extLst>
                </p:cNvPr>
                <p:cNvSpPr/>
                <p:nvPr/>
              </p:nvSpPr>
              <p:spPr bwMode="auto">
                <a:xfrm>
                  <a:off x="5943601" y="3968751"/>
                  <a:ext cx="1287463"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09" name="íṩľidè">
                  <a:extLst>
                    <a:ext uri="{FF2B5EF4-FFF2-40B4-BE49-F238E27FC236}">
                      <a16:creationId xmlns:a16="http://schemas.microsoft.com/office/drawing/2014/main" id="{AF3CD630-1850-4074-A1E1-3A6421AE6C28}"/>
                    </a:ext>
                  </a:extLst>
                </p:cNvPr>
                <p:cNvSpPr/>
                <p:nvPr/>
              </p:nvSpPr>
              <p:spPr bwMode="auto">
                <a:xfrm>
                  <a:off x="5943601" y="4075113"/>
                  <a:ext cx="1287463"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0" name="íṥļíḍé">
                  <a:extLst>
                    <a:ext uri="{FF2B5EF4-FFF2-40B4-BE49-F238E27FC236}">
                      <a16:creationId xmlns:a16="http://schemas.microsoft.com/office/drawing/2014/main" id="{369831E8-7836-40FD-B726-DF67007926BB}"/>
                    </a:ext>
                  </a:extLst>
                </p:cNvPr>
                <p:cNvSpPr/>
                <p:nvPr/>
              </p:nvSpPr>
              <p:spPr bwMode="auto">
                <a:xfrm>
                  <a:off x="5943601" y="4168776"/>
                  <a:ext cx="422275"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1" name="ïṩľïḍé">
                  <a:extLst>
                    <a:ext uri="{FF2B5EF4-FFF2-40B4-BE49-F238E27FC236}">
                      <a16:creationId xmlns:a16="http://schemas.microsoft.com/office/drawing/2014/main" id="{176D828E-F116-4705-92AA-49824F93A7B8}"/>
                    </a:ext>
                  </a:extLst>
                </p:cNvPr>
                <p:cNvSpPr/>
                <p:nvPr/>
              </p:nvSpPr>
              <p:spPr bwMode="auto">
                <a:xfrm>
                  <a:off x="6472238" y="4168776"/>
                  <a:ext cx="419100"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2" name="ïṣļîḍê">
                  <a:extLst>
                    <a:ext uri="{FF2B5EF4-FFF2-40B4-BE49-F238E27FC236}">
                      <a16:creationId xmlns:a16="http://schemas.microsoft.com/office/drawing/2014/main" id="{C3341AB4-161F-468D-8D47-153C0C90F7B7}"/>
                    </a:ext>
                  </a:extLst>
                </p:cNvPr>
                <p:cNvSpPr/>
                <p:nvPr/>
              </p:nvSpPr>
              <p:spPr bwMode="auto">
                <a:xfrm>
                  <a:off x="5943601" y="4270376"/>
                  <a:ext cx="1287463" cy="55563"/>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3" name="îṡľíďè">
                  <a:extLst>
                    <a:ext uri="{FF2B5EF4-FFF2-40B4-BE49-F238E27FC236}">
                      <a16:creationId xmlns:a16="http://schemas.microsoft.com/office/drawing/2014/main" id="{061F039A-C21C-4E39-AF0E-90B0D6498633}"/>
                    </a:ext>
                  </a:extLst>
                </p:cNvPr>
                <p:cNvSpPr/>
                <p:nvPr/>
              </p:nvSpPr>
              <p:spPr bwMode="auto">
                <a:xfrm>
                  <a:off x="5943601" y="4376738"/>
                  <a:ext cx="590550"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4" name="íṣlïďè">
                  <a:extLst>
                    <a:ext uri="{FF2B5EF4-FFF2-40B4-BE49-F238E27FC236}">
                      <a16:creationId xmlns:a16="http://schemas.microsoft.com/office/drawing/2014/main" id="{B3043E9D-FE3D-46BB-814B-BABC7B2446D7}"/>
                    </a:ext>
                  </a:extLst>
                </p:cNvPr>
                <p:cNvSpPr/>
                <p:nvPr/>
              </p:nvSpPr>
              <p:spPr bwMode="auto">
                <a:xfrm>
                  <a:off x="6640513" y="4376738"/>
                  <a:ext cx="590550"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5" name="iṣľíďé">
                  <a:extLst>
                    <a:ext uri="{FF2B5EF4-FFF2-40B4-BE49-F238E27FC236}">
                      <a16:creationId xmlns:a16="http://schemas.microsoft.com/office/drawing/2014/main" id="{1D17D951-45B1-4511-B26A-0B06C5A039E8}"/>
                    </a:ext>
                  </a:extLst>
                </p:cNvPr>
                <p:cNvSpPr/>
                <p:nvPr/>
              </p:nvSpPr>
              <p:spPr bwMode="auto">
                <a:xfrm>
                  <a:off x="5943601" y="4470401"/>
                  <a:ext cx="1287463" cy="53975"/>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6" name="îṧlïḓê">
                  <a:extLst>
                    <a:ext uri="{FF2B5EF4-FFF2-40B4-BE49-F238E27FC236}">
                      <a16:creationId xmlns:a16="http://schemas.microsoft.com/office/drawing/2014/main" id="{FF9275A5-91ED-47B7-B63D-8EE1FC322E4A}"/>
                    </a:ext>
                  </a:extLst>
                </p:cNvPr>
                <p:cNvSpPr/>
                <p:nvPr/>
              </p:nvSpPr>
              <p:spPr bwMode="auto">
                <a:xfrm>
                  <a:off x="5943601" y="4598988"/>
                  <a:ext cx="457200"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7" name="íṥḷïḓe">
                  <a:extLst>
                    <a:ext uri="{FF2B5EF4-FFF2-40B4-BE49-F238E27FC236}">
                      <a16:creationId xmlns:a16="http://schemas.microsoft.com/office/drawing/2014/main" id="{D661A459-6676-49FE-B420-4F129DF20C62}"/>
                    </a:ext>
                  </a:extLst>
                </p:cNvPr>
                <p:cNvSpPr/>
                <p:nvPr/>
              </p:nvSpPr>
              <p:spPr bwMode="auto">
                <a:xfrm>
                  <a:off x="6777038" y="4598988"/>
                  <a:ext cx="454025"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8" name="íšḻîḋé">
                  <a:extLst>
                    <a:ext uri="{FF2B5EF4-FFF2-40B4-BE49-F238E27FC236}">
                      <a16:creationId xmlns:a16="http://schemas.microsoft.com/office/drawing/2014/main" id="{34348C65-4B11-4990-82A5-30173D504A3B}"/>
                    </a:ext>
                  </a:extLst>
                </p:cNvPr>
                <p:cNvSpPr/>
                <p:nvPr/>
              </p:nvSpPr>
              <p:spPr bwMode="auto">
                <a:xfrm>
                  <a:off x="5943601" y="4705351"/>
                  <a:ext cx="1287463"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19" name="ïşļíḋê">
                  <a:extLst>
                    <a:ext uri="{FF2B5EF4-FFF2-40B4-BE49-F238E27FC236}">
                      <a16:creationId xmlns:a16="http://schemas.microsoft.com/office/drawing/2014/main" id="{F5951A5E-6176-4F8A-8032-0D15F8F7DDBC}"/>
                    </a:ext>
                  </a:extLst>
                </p:cNvPr>
                <p:cNvSpPr/>
                <p:nvPr/>
              </p:nvSpPr>
              <p:spPr bwMode="auto">
                <a:xfrm>
                  <a:off x="5943601" y="4799013"/>
                  <a:ext cx="504825" cy="53975"/>
                </a:xfrm>
                <a:custGeom>
                  <a:avLst/>
                  <a:gdLst>
                    <a:gd name="T0" fmla="*/ 318 w 318"/>
                    <a:gd name="T1" fmla="*/ 32 h 34"/>
                    <a:gd name="T2" fmla="*/ 0 w 318"/>
                    <a:gd name="T3" fmla="*/ 34 h 34"/>
                    <a:gd name="T4" fmla="*/ 0 w 318"/>
                    <a:gd name="T5" fmla="*/ 0 h 34"/>
                    <a:gd name="T6" fmla="*/ 318 w 318"/>
                    <a:gd name="T7" fmla="*/ 0 h 34"/>
                    <a:gd name="T8" fmla="*/ 318 w 318"/>
                    <a:gd name="T9" fmla="*/ 32 h 34"/>
                  </a:gdLst>
                  <a:ahLst/>
                  <a:cxnLst>
                    <a:cxn ang="0">
                      <a:pos x="T0" y="T1"/>
                    </a:cxn>
                    <a:cxn ang="0">
                      <a:pos x="T2" y="T3"/>
                    </a:cxn>
                    <a:cxn ang="0">
                      <a:pos x="T4" y="T5"/>
                    </a:cxn>
                    <a:cxn ang="0">
                      <a:pos x="T6" y="T7"/>
                    </a:cxn>
                    <a:cxn ang="0">
                      <a:pos x="T8" y="T9"/>
                    </a:cxn>
                  </a:cxnLst>
                  <a:rect l="0" t="0" r="r" b="b"/>
                  <a:pathLst>
                    <a:path w="318" h="34">
                      <a:moveTo>
                        <a:pt x="318" y="32"/>
                      </a:moveTo>
                      <a:lnTo>
                        <a:pt x="0" y="34"/>
                      </a:lnTo>
                      <a:lnTo>
                        <a:pt x="0" y="0"/>
                      </a:lnTo>
                      <a:lnTo>
                        <a:pt x="318" y="0"/>
                      </a:lnTo>
                      <a:lnTo>
                        <a:pt x="318" y="32"/>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20" name="í$ļïḓê">
                  <a:extLst>
                    <a:ext uri="{FF2B5EF4-FFF2-40B4-BE49-F238E27FC236}">
                      <a16:creationId xmlns:a16="http://schemas.microsoft.com/office/drawing/2014/main" id="{8E42CCA7-BFAB-42F1-A579-883EE1FF8BAB}"/>
                    </a:ext>
                  </a:extLst>
                </p:cNvPr>
                <p:cNvSpPr/>
                <p:nvPr/>
              </p:nvSpPr>
              <p:spPr bwMode="auto">
                <a:xfrm>
                  <a:off x="5943601" y="4903788"/>
                  <a:ext cx="504825"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21" name="íṥḷïďé">
                  <a:extLst>
                    <a:ext uri="{FF2B5EF4-FFF2-40B4-BE49-F238E27FC236}">
                      <a16:creationId xmlns:a16="http://schemas.microsoft.com/office/drawing/2014/main" id="{14FB0A05-36C9-4D58-BBEE-1290A0077857}"/>
                    </a:ext>
                  </a:extLst>
                </p:cNvPr>
                <p:cNvSpPr/>
                <p:nvPr/>
              </p:nvSpPr>
              <p:spPr bwMode="auto">
                <a:xfrm>
                  <a:off x="6726238" y="4799013"/>
                  <a:ext cx="504825" cy="53975"/>
                </a:xfrm>
                <a:custGeom>
                  <a:avLst/>
                  <a:gdLst>
                    <a:gd name="T0" fmla="*/ 318 w 318"/>
                    <a:gd name="T1" fmla="*/ 32 h 34"/>
                    <a:gd name="T2" fmla="*/ 0 w 318"/>
                    <a:gd name="T3" fmla="*/ 34 h 34"/>
                    <a:gd name="T4" fmla="*/ 0 w 318"/>
                    <a:gd name="T5" fmla="*/ 0 h 34"/>
                    <a:gd name="T6" fmla="*/ 318 w 318"/>
                    <a:gd name="T7" fmla="*/ 0 h 34"/>
                    <a:gd name="T8" fmla="*/ 318 w 318"/>
                    <a:gd name="T9" fmla="*/ 32 h 34"/>
                  </a:gdLst>
                  <a:ahLst/>
                  <a:cxnLst>
                    <a:cxn ang="0">
                      <a:pos x="T0" y="T1"/>
                    </a:cxn>
                    <a:cxn ang="0">
                      <a:pos x="T2" y="T3"/>
                    </a:cxn>
                    <a:cxn ang="0">
                      <a:pos x="T4" y="T5"/>
                    </a:cxn>
                    <a:cxn ang="0">
                      <a:pos x="T6" y="T7"/>
                    </a:cxn>
                    <a:cxn ang="0">
                      <a:pos x="T8" y="T9"/>
                    </a:cxn>
                  </a:cxnLst>
                  <a:rect l="0" t="0" r="r" b="b"/>
                  <a:pathLst>
                    <a:path w="318" h="34">
                      <a:moveTo>
                        <a:pt x="318" y="32"/>
                      </a:moveTo>
                      <a:lnTo>
                        <a:pt x="0" y="34"/>
                      </a:lnTo>
                      <a:lnTo>
                        <a:pt x="0" y="0"/>
                      </a:lnTo>
                      <a:lnTo>
                        <a:pt x="318" y="0"/>
                      </a:lnTo>
                      <a:lnTo>
                        <a:pt x="318" y="32"/>
                      </a:lnTo>
                      <a:close/>
                    </a:path>
                  </a:pathLst>
                </a:custGeom>
                <a:solidFill>
                  <a:srgbClr val="EBEAE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22" name="îŝļídè">
                  <a:extLst>
                    <a:ext uri="{FF2B5EF4-FFF2-40B4-BE49-F238E27FC236}">
                      <a16:creationId xmlns:a16="http://schemas.microsoft.com/office/drawing/2014/main" id="{D553122F-8870-4019-8F47-7107BAC009E5}"/>
                    </a:ext>
                  </a:extLst>
                </p:cNvPr>
                <p:cNvSpPr/>
                <p:nvPr/>
              </p:nvSpPr>
              <p:spPr bwMode="auto">
                <a:xfrm>
                  <a:off x="6726238" y="4903788"/>
                  <a:ext cx="504825"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23" name="îṩḷiḋê">
                  <a:extLst>
                    <a:ext uri="{FF2B5EF4-FFF2-40B4-BE49-F238E27FC236}">
                      <a16:creationId xmlns:a16="http://schemas.microsoft.com/office/drawing/2014/main" id="{09612C37-8303-495F-9D59-F18EDF20B61C}"/>
                    </a:ext>
                  </a:extLst>
                </p:cNvPr>
                <p:cNvSpPr/>
                <p:nvPr/>
              </p:nvSpPr>
              <p:spPr bwMode="auto">
                <a:xfrm>
                  <a:off x="5943601" y="5005388"/>
                  <a:ext cx="696913" cy="55563"/>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24" name="îṩlîḍê">
                  <a:extLst>
                    <a:ext uri="{FF2B5EF4-FFF2-40B4-BE49-F238E27FC236}">
                      <a16:creationId xmlns:a16="http://schemas.microsoft.com/office/drawing/2014/main" id="{C7D42A2E-E724-49BD-AAB7-AEE9C6199E92}"/>
                    </a:ext>
                  </a:extLst>
                </p:cNvPr>
                <p:cNvSpPr/>
                <p:nvPr/>
              </p:nvSpPr>
              <p:spPr bwMode="auto">
                <a:xfrm>
                  <a:off x="5943601" y="5103813"/>
                  <a:ext cx="1287463" cy="50800"/>
                </a:xfrm>
                <a:prstGeom prst="rect">
                  <a:avLst/>
                </a:prstGeom>
                <a:solidFill>
                  <a:srgbClr val="EB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grpSp>
        </p:grpSp>
        <p:grpSp>
          <p:nvGrpSpPr>
            <p:cNvPr id="7" name="iṧḻïďé">
              <a:extLst>
                <a:ext uri="{FF2B5EF4-FFF2-40B4-BE49-F238E27FC236}">
                  <a16:creationId xmlns:a16="http://schemas.microsoft.com/office/drawing/2014/main" id="{E20B90BF-54F8-4261-A69A-85D65337D47A}"/>
                </a:ext>
              </a:extLst>
            </p:cNvPr>
            <p:cNvGrpSpPr/>
            <p:nvPr/>
          </p:nvGrpSpPr>
          <p:grpSpPr>
            <a:xfrm>
              <a:off x="673100" y="1329756"/>
              <a:ext cx="3865492" cy="1233752"/>
              <a:chOff x="673100" y="1329756"/>
              <a:chExt cx="3865492" cy="1233752"/>
            </a:xfrm>
          </p:grpSpPr>
          <p:grpSp>
            <p:nvGrpSpPr>
              <p:cNvPr id="20" name="íśļîḋé">
                <a:extLst>
                  <a:ext uri="{FF2B5EF4-FFF2-40B4-BE49-F238E27FC236}">
                    <a16:creationId xmlns:a16="http://schemas.microsoft.com/office/drawing/2014/main" id="{BD1BC5AD-204B-4C77-A4A5-463B85F28CC5}"/>
                  </a:ext>
                </a:extLst>
              </p:cNvPr>
              <p:cNvGrpSpPr/>
              <p:nvPr/>
            </p:nvGrpSpPr>
            <p:grpSpPr>
              <a:xfrm>
                <a:off x="4119266" y="1436914"/>
                <a:ext cx="419326" cy="847968"/>
                <a:chOff x="4044295" y="2079128"/>
                <a:chExt cx="419326" cy="693058"/>
              </a:xfrm>
            </p:grpSpPr>
            <p:sp>
              <p:nvSpPr>
                <p:cNvPr id="23" name="i$ļíḑé">
                  <a:extLst>
                    <a:ext uri="{FF2B5EF4-FFF2-40B4-BE49-F238E27FC236}">
                      <a16:creationId xmlns:a16="http://schemas.microsoft.com/office/drawing/2014/main" id="{4538CF3C-D8E1-4C8E-BC39-D1300948A6A3}"/>
                    </a:ext>
                  </a:extLst>
                </p:cNvPr>
                <p:cNvSpPr/>
                <p:nvPr/>
              </p:nvSpPr>
              <p:spPr>
                <a:xfrm>
                  <a:off x="4044295" y="2079128"/>
                  <a:ext cx="105878" cy="6930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24" name="iṥḷïḑè">
                  <a:extLst>
                    <a:ext uri="{FF2B5EF4-FFF2-40B4-BE49-F238E27FC236}">
                      <a16:creationId xmlns:a16="http://schemas.microsoft.com/office/drawing/2014/main" id="{C9FEFEED-F5A9-44C0-BAD5-CF1CECD741DB}"/>
                    </a:ext>
                  </a:extLst>
                </p:cNvPr>
                <p:cNvSpPr/>
                <p:nvPr/>
              </p:nvSpPr>
              <p:spPr>
                <a:xfrm>
                  <a:off x="4303535" y="2345614"/>
                  <a:ext cx="160086" cy="16008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40000" lnSpcReduction="20000"/>
                </a:bodyPr>
                <a:lstStyle/>
                <a:p>
                  <a:pPr algn="ctr"/>
                  <a:endParaRPr lang="en-US">
                    <a:solidFill>
                      <a:schemeClr val="tx1"/>
                    </a:solidFill>
                  </a:endParaRPr>
                </a:p>
              </p:txBody>
            </p:sp>
          </p:grpSp>
          <p:sp>
            <p:nvSpPr>
              <p:cNvPr id="21" name="íṣḻídé">
                <a:extLst>
                  <a:ext uri="{FF2B5EF4-FFF2-40B4-BE49-F238E27FC236}">
                    <a16:creationId xmlns:a16="http://schemas.microsoft.com/office/drawing/2014/main" id="{6848BD65-B6AC-4A14-BE40-AEFF8AD8DCD3}"/>
                  </a:ext>
                </a:extLst>
              </p:cNvPr>
              <p:cNvSpPr/>
              <p:nvPr/>
            </p:nvSpPr>
            <p:spPr bwMode="auto">
              <a:xfrm>
                <a:off x="673100" y="1771561"/>
                <a:ext cx="31877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2000" dirty="0">
                    <a:solidFill>
                      <a:srgbClr val="F49F00"/>
                    </a:solidFill>
                    <a:latin typeface="Bell MT" panose="02020503060305020303" pitchFamily="18" charset="0"/>
                  </a:rPr>
                  <a:t>China Eastern Airlines</a:t>
                </a:r>
                <a:r>
                  <a:rPr lang="en-US" altLang="zh-CN" sz="1100" dirty="0"/>
                  <a:t>.</a:t>
                </a:r>
              </a:p>
            </p:txBody>
          </p:sp>
          <p:sp>
            <p:nvSpPr>
              <p:cNvPr id="22" name="iṡḻiḓê">
                <a:extLst>
                  <a:ext uri="{FF2B5EF4-FFF2-40B4-BE49-F238E27FC236}">
                    <a16:creationId xmlns:a16="http://schemas.microsoft.com/office/drawing/2014/main" id="{B059DBC5-AD14-471F-92D2-3CA336E7A627}"/>
                  </a:ext>
                </a:extLst>
              </p:cNvPr>
              <p:cNvSpPr txBox="1"/>
              <p:nvPr/>
            </p:nvSpPr>
            <p:spPr bwMode="auto">
              <a:xfrm>
                <a:off x="673100" y="1329756"/>
                <a:ext cx="31877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dirty="0"/>
                  <a:t>Company</a:t>
                </a:r>
              </a:p>
            </p:txBody>
          </p:sp>
        </p:grpSp>
        <p:grpSp>
          <p:nvGrpSpPr>
            <p:cNvPr id="8" name="íṩľïḋè">
              <a:extLst>
                <a:ext uri="{FF2B5EF4-FFF2-40B4-BE49-F238E27FC236}">
                  <a16:creationId xmlns:a16="http://schemas.microsoft.com/office/drawing/2014/main" id="{6D1AB83D-0965-450B-894A-0453A73D0896}"/>
                </a:ext>
              </a:extLst>
            </p:cNvPr>
            <p:cNvGrpSpPr/>
            <p:nvPr/>
          </p:nvGrpSpPr>
          <p:grpSpPr>
            <a:xfrm>
              <a:off x="673100" y="2970193"/>
              <a:ext cx="3865492" cy="1233752"/>
              <a:chOff x="673100" y="1329756"/>
              <a:chExt cx="3865492" cy="1233752"/>
            </a:xfrm>
          </p:grpSpPr>
          <p:grpSp>
            <p:nvGrpSpPr>
              <p:cNvPr id="15" name="ïŝ1îḋè">
                <a:extLst>
                  <a:ext uri="{FF2B5EF4-FFF2-40B4-BE49-F238E27FC236}">
                    <a16:creationId xmlns:a16="http://schemas.microsoft.com/office/drawing/2014/main" id="{C037199E-25A9-436C-98BC-D06E9A0F1C5D}"/>
                  </a:ext>
                </a:extLst>
              </p:cNvPr>
              <p:cNvGrpSpPr/>
              <p:nvPr/>
            </p:nvGrpSpPr>
            <p:grpSpPr>
              <a:xfrm>
                <a:off x="4119266" y="1436914"/>
                <a:ext cx="419326" cy="847968"/>
                <a:chOff x="4044295" y="2079128"/>
                <a:chExt cx="419326" cy="693058"/>
              </a:xfrm>
            </p:grpSpPr>
            <p:sp>
              <p:nvSpPr>
                <p:cNvPr id="18" name="ï$ḻîḍè">
                  <a:extLst>
                    <a:ext uri="{FF2B5EF4-FFF2-40B4-BE49-F238E27FC236}">
                      <a16:creationId xmlns:a16="http://schemas.microsoft.com/office/drawing/2014/main" id="{159E8A61-F17C-4900-9516-E7ADDA3462B2}"/>
                    </a:ext>
                  </a:extLst>
                </p:cNvPr>
                <p:cNvSpPr/>
                <p:nvPr/>
              </p:nvSpPr>
              <p:spPr>
                <a:xfrm>
                  <a:off x="4044295" y="2079128"/>
                  <a:ext cx="105878" cy="69305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19" name="îṥ1ïḓé">
                  <a:extLst>
                    <a:ext uri="{FF2B5EF4-FFF2-40B4-BE49-F238E27FC236}">
                      <a16:creationId xmlns:a16="http://schemas.microsoft.com/office/drawing/2014/main" id="{49A5B74E-9D5B-482F-AFAE-8F0502A90BF0}"/>
                    </a:ext>
                  </a:extLst>
                </p:cNvPr>
                <p:cNvSpPr/>
                <p:nvPr/>
              </p:nvSpPr>
              <p:spPr>
                <a:xfrm>
                  <a:off x="4303535" y="2345614"/>
                  <a:ext cx="160086" cy="160086"/>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40000" lnSpcReduction="20000"/>
                </a:bodyPr>
                <a:lstStyle/>
                <a:p>
                  <a:pPr algn="ctr"/>
                  <a:endParaRPr lang="en-US">
                    <a:solidFill>
                      <a:schemeClr val="tx1"/>
                    </a:solidFill>
                  </a:endParaRPr>
                </a:p>
              </p:txBody>
            </p:sp>
          </p:grpSp>
          <p:sp>
            <p:nvSpPr>
              <p:cNvPr id="16" name="is1ïḋé">
                <a:extLst>
                  <a:ext uri="{FF2B5EF4-FFF2-40B4-BE49-F238E27FC236}">
                    <a16:creationId xmlns:a16="http://schemas.microsoft.com/office/drawing/2014/main" id="{DDFF9EDD-860C-42C3-B3CF-070997EAEDFE}"/>
                  </a:ext>
                </a:extLst>
              </p:cNvPr>
              <p:cNvSpPr/>
              <p:nvPr/>
            </p:nvSpPr>
            <p:spPr bwMode="auto">
              <a:xfrm>
                <a:off x="673100" y="1771561"/>
                <a:ext cx="31877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dirty="0" err="1">
                    <a:solidFill>
                      <a:srgbClr val="F49F00"/>
                    </a:solidFill>
                    <a:latin typeface="Bell MT" panose="02020503060305020303" pitchFamily="18" charset="0"/>
                  </a:rPr>
                  <a:t>.Net</a:t>
                </a:r>
                <a:r>
                  <a:rPr lang="en-US" altLang="zh-CN" dirty="0">
                    <a:solidFill>
                      <a:srgbClr val="F49F00"/>
                    </a:solidFill>
                    <a:latin typeface="Bell MT" panose="02020503060305020303" pitchFamily="18" charset="0"/>
                  </a:rPr>
                  <a:t> Development Engineer</a:t>
                </a:r>
              </a:p>
            </p:txBody>
          </p:sp>
          <p:sp>
            <p:nvSpPr>
              <p:cNvPr id="17" name="îŝḻîďé">
                <a:extLst>
                  <a:ext uri="{FF2B5EF4-FFF2-40B4-BE49-F238E27FC236}">
                    <a16:creationId xmlns:a16="http://schemas.microsoft.com/office/drawing/2014/main" id="{A54FDD24-98F9-4CD9-9F86-3F7A70946096}"/>
                  </a:ext>
                </a:extLst>
              </p:cNvPr>
              <p:cNvSpPr txBox="1"/>
              <p:nvPr/>
            </p:nvSpPr>
            <p:spPr bwMode="auto">
              <a:xfrm>
                <a:off x="673100" y="1329756"/>
                <a:ext cx="31877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dirty="0"/>
                  <a:t>Job Roles</a:t>
                </a:r>
              </a:p>
            </p:txBody>
          </p:sp>
        </p:grpSp>
        <p:grpSp>
          <p:nvGrpSpPr>
            <p:cNvPr id="9" name="ïṣļíďe">
              <a:extLst>
                <a:ext uri="{FF2B5EF4-FFF2-40B4-BE49-F238E27FC236}">
                  <a16:creationId xmlns:a16="http://schemas.microsoft.com/office/drawing/2014/main" id="{7CBAF839-5AF0-4A93-9F33-4DD9A8454867}"/>
                </a:ext>
              </a:extLst>
            </p:cNvPr>
            <p:cNvGrpSpPr/>
            <p:nvPr/>
          </p:nvGrpSpPr>
          <p:grpSpPr>
            <a:xfrm>
              <a:off x="673100" y="4610629"/>
              <a:ext cx="3865492" cy="1233752"/>
              <a:chOff x="673100" y="1329756"/>
              <a:chExt cx="3865492" cy="1233752"/>
            </a:xfrm>
          </p:grpSpPr>
          <p:grpSp>
            <p:nvGrpSpPr>
              <p:cNvPr id="10" name="iṥḻïḋè">
                <a:extLst>
                  <a:ext uri="{FF2B5EF4-FFF2-40B4-BE49-F238E27FC236}">
                    <a16:creationId xmlns:a16="http://schemas.microsoft.com/office/drawing/2014/main" id="{3AB2AD4E-551F-4F48-A758-0B2A8BB0FB08}"/>
                  </a:ext>
                </a:extLst>
              </p:cNvPr>
              <p:cNvGrpSpPr/>
              <p:nvPr/>
            </p:nvGrpSpPr>
            <p:grpSpPr>
              <a:xfrm>
                <a:off x="4119266" y="1436914"/>
                <a:ext cx="419326" cy="847968"/>
                <a:chOff x="4044295" y="2079128"/>
                <a:chExt cx="419326" cy="693058"/>
              </a:xfrm>
            </p:grpSpPr>
            <p:sp>
              <p:nvSpPr>
                <p:cNvPr id="13" name="i$ľîḑe">
                  <a:extLst>
                    <a:ext uri="{FF2B5EF4-FFF2-40B4-BE49-F238E27FC236}">
                      <a16:creationId xmlns:a16="http://schemas.microsoft.com/office/drawing/2014/main" id="{67BD8A47-E8D9-4F27-A1F5-12205D73A223}"/>
                    </a:ext>
                  </a:extLst>
                </p:cNvPr>
                <p:cNvSpPr/>
                <p:nvPr/>
              </p:nvSpPr>
              <p:spPr>
                <a:xfrm>
                  <a:off x="4044295" y="2079128"/>
                  <a:ext cx="105878" cy="69305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14" name="ïşľïḑè">
                  <a:extLst>
                    <a:ext uri="{FF2B5EF4-FFF2-40B4-BE49-F238E27FC236}">
                      <a16:creationId xmlns:a16="http://schemas.microsoft.com/office/drawing/2014/main" id="{B262F21D-BC8C-4AB1-A20E-39024E94F279}"/>
                    </a:ext>
                  </a:extLst>
                </p:cNvPr>
                <p:cNvSpPr/>
                <p:nvPr/>
              </p:nvSpPr>
              <p:spPr>
                <a:xfrm>
                  <a:off x="4303535" y="2345614"/>
                  <a:ext cx="160086" cy="16008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40000" lnSpcReduction="20000"/>
                </a:bodyPr>
                <a:lstStyle/>
                <a:p>
                  <a:pPr algn="ctr"/>
                  <a:endParaRPr lang="en-US">
                    <a:solidFill>
                      <a:schemeClr val="tx1"/>
                    </a:solidFill>
                  </a:endParaRPr>
                </a:p>
              </p:txBody>
            </p:sp>
          </p:grpSp>
          <p:sp>
            <p:nvSpPr>
              <p:cNvPr id="11" name="îṣlíḋe">
                <a:extLst>
                  <a:ext uri="{FF2B5EF4-FFF2-40B4-BE49-F238E27FC236}">
                    <a16:creationId xmlns:a16="http://schemas.microsoft.com/office/drawing/2014/main" id="{8F877B78-A08C-4BC6-A00C-19216C55224E}"/>
                  </a:ext>
                </a:extLst>
              </p:cNvPr>
              <p:cNvSpPr/>
              <p:nvPr/>
            </p:nvSpPr>
            <p:spPr bwMode="auto">
              <a:xfrm>
                <a:off x="673100" y="1771561"/>
                <a:ext cx="3187700" cy="791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dirty="0">
                    <a:solidFill>
                      <a:srgbClr val="F49F00"/>
                    </a:solidFill>
                    <a:latin typeface="Bell MT" panose="02020503060305020303" pitchFamily="18" charset="0"/>
                  </a:rPr>
                  <a:t>CEA Call Center</a:t>
                </a:r>
              </a:p>
              <a:p>
                <a:pPr algn="r">
                  <a:lnSpc>
                    <a:spcPct val="120000"/>
                  </a:lnSpc>
                </a:pPr>
                <a:r>
                  <a:rPr lang="en-US" altLang="zh-CN" dirty="0">
                    <a:solidFill>
                      <a:srgbClr val="F49F00"/>
                    </a:solidFill>
                    <a:latin typeface="Bell MT" panose="02020503060305020303" pitchFamily="18" charset="0"/>
                  </a:rPr>
                  <a:t>Black Screen e-term</a:t>
                </a:r>
              </a:p>
              <a:p>
                <a:pPr algn="r">
                  <a:lnSpc>
                    <a:spcPct val="120000"/>
                  </a:lnSpc>
                </a:pPr>
                <a:r>
                  <a:rPr lang="en-US" altLang="zh-CN" dirty="0">
                    <a:solidFill>
                      <a:srgbClr val="F49F00"/>
                    </a:solidFill>
                    <a:latin typeface="Bell MT" panose="02020503060305020303" pitchFamily="18" charset="0"/>
                  </a:rPr>
                  <a:t>WeChat Program</a:t>
                </a:r>
              </a:p>
            </p:txBody>
          </p:sp>
          <p:sp>
            <p:nvSpPr>
              <p:cNvPr id="12" name="iṩḻíḋê">
                <a:extLst>
                  <a:ext uri="{FF2B5EF4-FFF2-40B4-BE49-F238E27FC236}">
                    <a16:creationId xmlns:a16="http://schemas.microsoft.com/office/drawing/2014/main" id="{59121C24-92F3-4B66-8490-40C73A437673}"/>
                  </a:ext>
                </a:extLst>
              </p:cNvPr>
              <p:cNvSpPr txBox="1"/>
              <p:nvPr/>
            </p:nvSpPr>
            <p:spPr bwMode="auto">
              <a:xfrm>
                <a:off x="673100" y="1329756"/>
                <a:ext cx="31877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dirty="0"/>
                  <a:t>Projects</a:t>
                </a:r>
              </a:p>
            </p:txBody>
          </p:sp>
        </p:grpSp>
      </p:grpSp>
    </p:spTree>
    <p:extLst>
      <p:ext uri="{BB962C8B-B14F-4D97-AF65-F5344CB8AC3E}">
        <p14:creationId xmlns:p14="http://schemas.microsoft.com/office/powerpoint/2010/main" val="4203400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73366" y="2470792"/>
            <a:ext cx="5419185" cy="895350"/>
          </a:xfrm>
        </p:spPr>
        <p:txBody>
          <a:bodyPr/>
          <a:lstStyle/>
          <a:p>
            <a:r>
              <a:rPr lang="en-US" altLang="zh-CN" dirty="0"/>
              <a:t>Interests/Hobbies</a:t>
            </a:r>
            <a:endParaRPr lang="zh-CN" altLang="en-US" dirty="0"/>
          </a:p>
        </p:txBody>
      </p:sp>
      <p:sp>
        <p:nvSpPr>
          <p:cNvPr id="6" name="文本占位符 5"/>
          <p:cNvSpPr>
            <a:spLocks noGrp="1"/>
          </p:cNvSpPr>
          <p:nvPr>
            <p:ph type="body" idx="1"/>
          </p:nvPr>
        </p:nvSpPr>
        <p:spPr>
          <a:xfrm>
            <a:off x="5574482" y="3366142"/>
            <a:ext cx="5419185" cy="1015623"/>
          </a:xfrm>
        </p:spPr>
        <p:txBody>
          <a:bodyPr/>
          <a:lstStyle/>
          <a:p>
            <a:pPr lvl="0">
              <a:lnSpc>
                <a:spcPct val="100000"/>
              </a:lnSpc>
            </a:pPr>
            <a:r>
              <a:rPr lang="en-US" altLang="zh-CN" dirty="0"/>
              <a:t>What do I do when I am free?</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2645466"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825452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0"/>
            <a:ext cx="10850563" cy="1028699"/>
          </a:xfrm>
        </p:spPr>
        <p:txBody>
          <a:bodyPr/>
          <a:lstStyle/>
          <a:p>
            <a:r>
              <a:rPr lang="en-US" altLang="zh-CN" dirty="0" err="1"/>
              <a:t>Hobbies&amp;Interest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6" name="Picture 5">
            <a:extLst>
              <a:ext uri="{FF2B5EF4-FFF2-40B4-BE49-F238E27FC236}">
                <a16:creationId xmlns:a16="http://schemas.microsoft.com/office/drawing/2014/main" id="{5DAA4E69-6D61-447D-A2E3-201999F34F1D}"/>
              </a:ext>
            </a:extLst>
          </p:cNvPr>
          <p:cNvPicPr>
            <a:picLocks noChangeAspect="1"/>
          </p:cNvPicPr>
          <p:nvPr/>
        </p:nvPicPr>
        <p:blipFill>
          <a:blip r:embed="rId2"/>
          <a:stretch>
            <a:fillRect/>
          </a:stretch>
        </p:blipFill>
        <p:spPr>
          <a:xfrm>
            <a:off x="669925" y="1130299"/>
            <a:ext cx="3051588" cy="2005014"/>
          </a:xfrm>
          <a:prstGeom prst="rect">
            <a:avLst/>
          </a:prstGeom>
        </p:spPr>
      </p:pic>
      <p:pic>
        <p:nvPicPr>
          <p:cNvPr id="6148" name="Picture 4" descr="âSwimmingâçå¾çæç´¢ç»æ">
            <a:extLst>
              <a:ext uri="{FF2B5EF4-FFF2-40B4-BE49-F238E27FC236}">
                <a16:creationId xmlns:a16="http://schemas.microsoft.com/office/drawing/2014/main" id="{13C05C4A-FEF1-41FB-8EEF-882012BEB2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1513" y="1130299"/>
            <a:ext cx="7798975" cy="5056603"/>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âBilliardâçå¾çæç´¢ç»æ">
            <a:extLst>
              <a:ext uri="{FF2B5EF4-FFF2-40B4-BE49-F238E27FC236}">
                <a16:creationId xmlns:a16="http://schemas.microsoft.com/office/drawing/2014/main" id="{7670D952-714B-4362-858D-AC62AE9499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9925" y="3135313"/>
            <a:ext cx="3051588" cy="3051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9131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d9074b4e-ced9-4843-9745-1ebab0eb865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ISLIDE.DIAGRAM" val="249380"/>
</p:tagLst>
</file>

<file path=ppt/tags/tag6.xml><?xml version="1.0" encoding="utf-8"?>
<p:tagLst xmlns:a="http://schemas.openxmlformats.org/drawingml/2006/main" xmlns:r="http://schemas.openxmlformats.org/officeDocument/2006/relationships" xmlns:p="http://schemas.openxmlformats.org/presentationml/2006/main">
  <p:tag name="ISLIDE.DIAGRAM" val="24676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FFB50B"/>
      </a:accent1>
      <a:accent2>
        <a:srgbClr val="000000"/>
      </a:accent2>
      <a:accent3>
        <a:srgbClr val="EA9600"/>
      </a:accent3>
      <a:accent4>
        <a:srgbClr val="906500"/>
      </a:accent4>
      <a:accent5>
        <a:srgbClr val="7F7F7F"/>
      </a:accent5>
      <a:accent6>
        <a:srgbClr val="595959"/>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Micron Theme 2.0">
  <a:themeElements>
    <a:clrScheme name="MU Color">
      <a:dk1>
        <a:srgbClr val="58595B"/>
      </a:dk1>
      <a:lt1>
        <a:srgbClr val="FFFFFF"/>
      </a:lt1>
      <a:dk2>
        <a:srgbClr val="58595B"/>
      </a:dk2>
      <a:lt2>
        <a:srgbClr val="FFFFFF"/>
      </a:lt2>
      <a:accent1>
        <a:srgbClr val="0077C8"/>
      </a:accent1>
      <a:accent2>
        <a:srgbClr val="00A3E1"/>
      </a:accent2>
      <a:accent3>
        <a:srgbClr val="FFB500"/>
      </a:accent3>
      <a:accent4>
        <a:srgbClr val="9ACA3C"/>
      </a:accent4>
      <a:accent5>
        <a:srgbClr val="FFCD00"/>
      </a:accent5>
      <a:accent6>
        <a:srgbClr val="808285"/>
      </a:accent6>
      <a:hlink>
        <a:srgbClr val="71C5E8"/>
      </a:hlink>
      <a:folHlink>
        <a:srgbClr val="71C5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rporate Master PPT Template.pptx" id="{3ED43366-7723-47FE-8F4C-83585E9B10E3}" vid="{3116D99E-2D2A-42B9-B50C-A1DD1045925C}"/>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FB50B"/>
    </a:accent1>
    <a:accent2>
      <a:srgbClr val="000000"/>
    </a:accent2>
    <a:accent3>
      <a:srgbClr val="EA9600"/>
    </a:accent3>
    <a:accent4>
      <a:srgbClr val="906500"/>
    </a:accent4>
    <a:accent5>
      <a:srgbClr val="7F7F7F"/>
    </a:accent5>
    <a:accent6>
      <a:srgbClr val="595959"/>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FFB50B"/>
    </a:accent1>
    <a:accent2>
      <a:srgbClr val="000000"/>
    </a:accent2>
    <a:accent3>
      <a:srgbClr val="EA9600"/>
    </a:accent3>
    <a:accent4>
      <a:srgbClr val="906500"/>
    </a:accent4>
    <a:accent5>
      <a:srgbClr val="7F7F7F"/>
    </a:accent5>
    <a:accent6>
      <a:srgbClr val="595959"/>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FFB50B"/>
    </a:accent1>
    <a:accent2>
      <a:srgbClr val="000000"/>
    </a:accent2>
    <a:accent3>
      <a:srgbClr val="EA9600"/>
    </a:accent3>
    <a:accent4>
      <a:srgbClr val="906500"/>
    </a:accent4>
    <a:accent5>
      <a:srgbClr val="7F7F7F"/>
    </a:accent5>
    <a:accent6>
      <a:srgbClr val="59595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324</TotalTime>
  <Words>238</Words>
  <Application>Microsoft Office PowerPoint</Application>
  <PresentationFormat>Widescreen</PresentationFormat>
  <Paragraphs>71</Paragraphs>
  <Slides>13</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Bahnschrift</vt:lpstr>
      <vt:lpstr>Bell MT</vt:lpstr>
      <vt:lpstr>Calibri</vt:lpstr>
      <vt:lpstr>Impact</vt:lpstr>
      <vt:lpstr>Wingdings</vt:lpstr>
      <vt:lpstr>主题5</vt:lpstr>
      <vt:lpstr>Micron Theme 2.0</vt:lpstr>
      <vt:lpstr>think-cell Slide</vt:lpstr>
      <vt:lpstr>CTE  New Member  Self-INTRODUCTION</vt:lpstr>
      <vt:lpstr>PowerPoint Presentation</vt:lpstr>
      <vt:lpstr>PowerPoint Presentation</vt:lpstr>
      <vt:lpstr>Education Background</vt:lpstr>
      <vt:lpstr>Education Background</vt:lpstr>
      <vt:lpstr>Project Experience</vt:lpstr>
      <vt:lpstr>Past Experience</vt:lpstr>
      <vt:lpstr>Interests/Hobbies</vt:lpstr>
      <vt:lpstr>Hobbies&amp;Interests</vt:lpstr>
      <vt:lpstr>Future development</vt:lpstr>
      <vt:lpstr>PowerPoint Presentation</vt:lpstr>
      <vt:lpstr>What I know about Micron…</vt:lpstr>
      <vt:lpstr>Thanks And Go Micron!</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Haochen Yang 杨浩辰 (haochenyang)</cp:lastModifiedBy>
  <cp:revision>17</cp:revision>
  <cp:lastPrinted>2018-12-02T16:00:00Z</cp:lastPrinted>
  <dcterms:created xsi:type="dcterms:W3CDTF">2018-12-02T16:00:00Z</dcterms:created>
  <dcterms:modified xsi:type="dcterms:W3CDTF">2019-12-03T06:2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